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91" r:id="rId2"/>
    <p:sldMasterId id="2147483738" r:id="rId3"/>
    <p:sldMasterId id="2147483755" r:id="rId4"/>
    <p:sldMasterId id="2147483772" r:id="rId5"/>
  </p:sldMasterIdLst>
  <p:notesMasterIdLst>
    <p:notesMasterId r:id="rId19"/>
  </p:notesMasterIdLst>
  <p:sldIdLst>
    <p:sldId id="317" r:id="rId6"/>
    <p:sldId id="487" r:id="rId7"/>
    <p:sldId id="495" r:id="rId8"/>
    <p:sldId id="496" r:id="rId9"/>
    <p:sldId id="497" r:id="rId10"/>
    <p:sldId id="498" r:id="rId11"/>
    <p:sldId id="501" r:id="rId12"/>
    <p:sldId id="500" r:id="rId13"/>
    <p:sldId id="502" r:id="rId14"/>
    <p:sldId id="503" r:id="rId15"/>
    <p:sldId id="504" r:id="rId16"/>
    <p:sldId id="506" r:id="rId17"/>
    <p:sldId id="505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180000" indent="-180000" algn="l" defTabSz="914400" rtl="0" eaLnBrk="1" latinLnBrk="0" hangingPunct="1">
      <a:lnSpc>
        <a:spcPct val="102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lnSpc>
        <a:spcPct val="102000"/>
      </a:lnSpc>
      <a:spcBef>
        <a:spcPts val="600"/>
      </a:spcBef>
      <a:buFont typeface="Symbol" panose="05050102010706020507" pitchFamily="18" charset="2"/>
      <a:buChar char="-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lnSpc>
        <a:spcPct val="102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lnSpc>
        <a:spcPct val="102000"/>
      </a:lnSpc>
      <a:spcBef>
        <a:spcPts val="600"/>
      </a:spcBef>
      <a:buFont typeface="Symbol" panose="05050102010706020507" pitchFamily="18" charset="2"/>
      <a:buChar char="-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80000" indent="-180000" algn="l" defTabSz="914400" rtl="0" eaLnBrk="1" latinLnBrk="0" hangingPunct="1">
      <a:lnSpc>
        <a:spcPct val="102000"/>
      </a:lnSpc>
      <a:spcBef>
        <a:spcPts val="5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lnSpc>
        <a:spcPct val="102000"/>
      </a:lnSpc>
      <a:spcBef>
        <a:spcPts val="500"/>
      </a:spcBef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540000" indent="-180000" algn="l" defTabSz="914400" rtl="0" eaLnBrk="1" latinLnBrk="0" hangingPunct="1">
      <a:lnSpc>
        <a:spcPct val="102000"/>
      </a:lnSpc>
      <a:spcBef>
        <a:spcPts val="5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02000"/>
      </a:lnSpc>
      <a:spcBef>
        <a:spcPts val="500"/>
      </a:spcBef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02000"/>
      </a:lnSpc>
      <a:spcBef>
        <a:spcPts val="500"/>
      </a:spcBef>
      <a:buFontTx/>
      <a:buNone/>
      <a:defRPr sz="900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4589"/>
    <a:srgbClr val="FF33CC"/>
    <a:srgbClr val="9C9552"/>
    <a:srgbClr val="397A94"/>
    <a:srgbClr val="DEEAF8"/>
    <a:srgbClr val="8DB9BE"/>
    <a:srgbClr val="B2AD86"/>
    <a:srgbClr val="D2B166"/>
    <a:srgbClr val="E5CD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E91C05B-A8FE-4492-80FE-76F493F86D77}">
  <a:tblStyle styleId="{CE91C05B-A8FE-4492-80FE-76F493F86D77}" styleName="VK Tabel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024589"/>
              </a:solidFill>
              <a:prstDash val="solid"/>
            </a:ln>
          </a:insideH>
          <a:insideV>
            <a:ln w="6350" cap="flat" cmpd="sng" algn="ctr">
              <a:solidFill>
                <a:srgbClr val="024589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TxStyle b="on" i="off">
        <a:fontRef idx="major"/>
        <a:schemeClr val="tx1"/>
      </a:tcTxStyle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 i="off">
        <a:fontRef idx="major"/>
        <a:srgbClr val="024589"/>
      </a:tcTxStyle>
      <a:tcStyle>
        <a:tcBdr/>
      </a:tcStyle>
    </a:firstRow>
    <a:neCell>
      <a:tcStyle>
        <a:tcBdr/>
      </a:tcStyle>
    </a:neCell>
    <a:nwCell>
      <a:tcStyle>
        <a:tcBdr/>
      </a:tcStyle>
    </a:nwCell>
    <a:extLst/>
  </a:tblStyle>
  <a:tblStyle styleId="{EDB3DEF0-6B04-4BE9-9C76-D7702841BABC}" styleName="VK Agenda-Tabelle">
    <a:tblBg>
      <a:fill>
        <a:solidFill>
          <a:srgbClr val="B47D00">
            <a:alpha val="40000"/>
          </a:srgbClr>
        </a:solidFill>
      </a:fill>
    </a:tblBg>
    <a:wholeTbl>
      <a:tcTxStyle b="on" i="off">
        <a:fontRef idx="maj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Style>
        <a:tcBdr/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501" autoAdjust="0"/>
  </p:normalViewPr>
  <p:slideViewPr>
    <p:cSldViewPr showGuides="1">
      <p:cViewPr varScale="1">
        <p:scale>
          <a:sx n="106" d="100"/>
          <a:sy n="106" d="100"/>
        </p:scale>
        <p:origin x="70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9CDBEA-F110-456A-8009-E30CCCBCB3B8}" type="datetimeFigureOut">
              <a:rPr lang="de-DE" smtClean="0"/>
              <a:t>15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F7355F-D534-436D-8013-1FF9BDE220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4938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873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w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2"/>
          <a:srcRect t="14981"/>
          <a:stretch/>
        </p:blipFill>
        <p:spPr>
          <a:xfrm>
            <a:off x="0" y="-59268"/>
            <a:ext cx="12192000" cy="6917267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8E6920A-26D6-44DB-A275-786E84520A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094800" y="1629057"/>
            <a:ext cx="6102000" cy="525637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78894"/>
            <a:ext cx="6094800" cy="4278594"/>
          </a:xfrm>
          <a:noFill/>
        </p:spPr>
        <p:txBody>
          <a:bodyPr lIns="658800" rIns="360000" bIns="1825200" anchor="b"/>
          <a:lstStyle>
            <a:lvl1pPr algn="l">
              <a:lnSpc>
                <a:spcPct val="100000"/>
              </a:lnSpc>
              <a:defRPr sz="2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eue Titelmasterformat durch Klicken bearbeiten</a:t>
            </a:r>
            <a:br>
              <a:rPr lang="de-DE" dirty="0"/>
            </a:br>
            <a:r>
              <a:rPr lang="de-DE" dirty="0"/>
              <a:t>max. 3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7546" y="5171180"/>
            <a:ext cx="5649954" cy="786129"/>
          </a:xfrm>
          <a:prstGeom prst="rect">
            <a:avLst/>
          </a:prstGeom>
        </p:spPr>
        <p:txBody>
          <a:bodyPr lIns="658800"/>
          <a:lstStyle>
            <a:lvl1pPr marL="0" indent="0" algn="l">
              <a:lnSpc>
                <a:spcPct val="112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0" y="6269030"/>
            <a:ext cx="5651500" cy="287371"/>
          </a:xfrm>
        </p:spPr>
        <p:txBody>
          <a:bodyPr lIns="65880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70851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4061" userDrawn="1">
          <p15:clr>
            <a:srgbClr val="FBAE40"/>
          </p15:clr>
        </p15:guide>
        <p15:guide id="3" orient="horz" pos="1626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orient="horz" pos="325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groß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4284000" y="0"/>
            <a:ext cx="7908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295428"/>
            <a:ext cx="3627437" cy="8820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1" y="6252701"/>
            <a:ext cx="3627549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3027" y="1454400"/>
            <a:ext cx="3627323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0" name="Onlinebild-Platzhalter 2">
            <a:extLst>
              <a:ext uri="{FF2B5EF4-FFF2-40B4-BE49-F238E27FC236}">
                <a16:creationId xmlns:a16="http://schemas.microsoft.com/office/drawing/2014/main" id="{6FD58222-D3E9-4298-8AC6-DDA9C8D75AA5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0334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64">
          <p15:clr>
            <a:srgbClr val="FBAE40"/>
          </p15:clr>
        </p15:guide>
        <p15:guide id="2" pos="269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groß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90571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25200" y="295428"/>
            <a:ext cx="3628800" cy="8820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8125200" y="1454400"/>
            <a:ext cx="3628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E3825D-7FD1-4F4B-B086-2B7EFCEF39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11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420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979">
          <p15:clr>
            <a:srgbClr val="FBAE40"/>
          </p15:clr>
        </p15:guide>
        <p15:guide id="2" pos="51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42800" y="35814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21"/>
          </p:nvPr>
        </p:nvSpPr>
        <p:spPr>
          <a:xfrm>
            <a:off x="442913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22"/>
          </p:nvPr>
        </p:nvSpPr>
        <p:spPr>
          <a:xfrm>
            <a:off x="4284000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8125087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24"/>
          </p:nvPr>
        </p:nvSpPr>
        <p:spPr>
          <a:xfrm>
            <a:off x="4284000" y="35820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25"/>
          </p:nvPr>
        </p:nvSpPr>
        <p:spPr>
          <a:xfrm>
            <a:off x="8125200" y="35820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670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pos="2565" userDrawn="1">
          <p15:clr>
            <a:srgbClr val="FBAE40"/>
          </p15:clr>
        </p15:guide>
        <p15:guide id="1" pos="4979">
          <p15:clr>
            <a:srgbClr val="FBAE40"/>
          </p15:clr>
        </p15:guide>
        <p15:guide id="2" pos="5117">
          <p15:clr>
            <a:srgbClr val="FBAE40"/>
          </p15:clr>
        </p15:guide>
        <p15:guide id="3" pos="269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e mit Tea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2912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21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s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54685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867F8A5-D449-4895-A700-562368377BAF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57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s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54685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4397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, Bild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8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442800" y="145415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Onlinebild-Platzhalter 2">
            <a:extLst>
              <a:ext uri="{FF2B5EF4-FFF2-40B4-BE49-F238E27FC236}">
                <a16:creationId xmlns:a16="http://schemas.microsoft.com/office/drawing/2014/main" id="{F256263F-6ADB-416E-A049-B4499EA97FF3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0155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, Bild rech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6091540" y="0"/>
            <a:ext cx="610046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5544000" cy="88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442800" y="1454150"/>
            <a:ext cx="5544000" cy="369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5274759"/>
            <a:ext cx="5543550" cy="73008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500"/>
              </a:spcBef>
              <a:buNone/>
              <a:defRPr sz="1400">
                <a:solidFill>
                  <a:schemeClr val="bg1"/>
                </a:solidFill>
              </a:defRPr>
            </a:lvl3pPr>
            <a:lvl4pPr marL="180000" indent="-180000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0" indent="0">
              <a:buNone/>
              <a:defRPr sz="900">
                <a:solidFill>
                  <a:schemeClr val="bg1"/>
                </a:solidFill>
              </a:defRPr>
            </a:lvl5pPr>
            <a:lvl6pPr marL="0" indent="0"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2000"/>
              </a:lnSpc>
              <a:buNone/>
              <a:defRPr sz="9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3" name="Onlinebild-Platzhalter 2">
            <a:extLst>
              <a:ext uri="{FF2B5EF4-FFF2-40B4-BE49-F238E27FC236}">
                <a16:creationId xmlns:a16="http://schemas.microsoft.com/office/drawing/2014/main" id="{C02540E7-D5D1-42D3-A667-E0CE514F8F43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4997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4"/>
          </p:nvPr>
        </p:nvSpPr>
        <p:spPr>
          <a:xfrm>
            <a:off x="442800" y="1452562"/>
            <a:ext cx="11304000" cy="3694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5274759"/>
            <a:ext cx="5543550" cy="73008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2pPr>
            <a:lvl3pPr marL="0" indent="0">
              <a:spcBef>
                <a:spcPts val="500"/>
              </a:spcBef>
              <a:buNone/>
              <a:defRPr sz="1400">
                <a:solidFill>
                  <a:schemeClr val="accent2"/>
                </a:solidFill>
              </a:defRPr>
            </a:lvl3pPr>
            <a:lvl4pPr marL="180000" indent="-180000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0" indent="0">
              <a:buNone/>
              <a:defRPr sz="900">
                <a:solidFill>
                  <a:schemeClr val="accent2"/>
                </a:solidFill>
              </a:defRPr>
            </a:lvl5pPr>
            <a:lvl6pPr marL="0" indent="0">
              <a:buNone/>
              <a:defRPr sz="900">
                <a:solidFill>
                  <a:schemeClr val="accent2"/>
                </a:solidFill>
              </a:defRPr>
            </a:lvl6pPr>
            <a:lvl7pPr marL="0" indent="0">
              <a:lnSpc>
                <a:spcPct val="102000"/>
              </a:lnSpc>
              <a:buNone/>
              <a:defRPr sz="900">
                <a:solidFill>
                  <a:schemeClr val="accent2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51254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0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6205538" y="145415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Diagrammplatzhalter 6"/>
          <p:cNvSpPr>
            <a:spLocks noGrp="1"/>
          </p:cNvSpPr>
          <p:nvPr>
            <p:ph type="chart" sz="quarter" idx="18"/>
          </p:nvPr>
        </p:nvSpPr>
        <p:spPr>
          <a:xfrm>
            <a:off x="442913" y="145440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523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2854BDA0-AA86-4ACD-B303-1AE49219EC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8612656-AB29-481B-AC57-C44B578791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9" name="Onlinebild-Platzhalter 3">
            <a:extLst>
              <a:ext uri="{FF2B5EF4-FFF2-40B4-BE49-F238E27FC236}">
                <a16:creationId xmlns:a16="http://schemas.microsoft.com/office/drawing/2014/main" id="{1FE9E881-80B1-4EB3-81CB-8AB5831DC7B5}"/>
              </a:ext>
            </a:extLst>
          </p:cNvPr>
          <p:cNvSpPr>
            <a:spLocks noGrp="1" noChangeAspect="1"/>
          </p:cNvSpPr>
          <p:nvPr>
            <p:ph type="clipArt" sz="quarter" idx="11" hasCustomPrompt="1"/>
          </p:nvPr>
        </p:nvSpPr>
        <p:spPr>
          <a:xfrm>
            <a:off x="6094800" y="1630800"/>
            <a:ext cx="6102000" cy="525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78894"/>
            <a:ext cx="6094800" cy="4278594"/>
          </a:xfrm>
          <a:noFill/>
        </p:spPr>
        <p:txBody>
          <a:bodyPr lIns="658800" rIns="360000" bIns="1825200" anchor="b"/>
          <a:lstStyle>
            <a:lvl1pPr algn="l">
              <a:lnSpc>
                <a:spcPct val="100000"/>
              </a:lnSpc>
              <a:defRPr sz="2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eue Titelmasterformat durch Klicken bearbeiten</a:t>
            </a:r>
            <a:br>
              <a:rPr lang="de-DE" dirty="0"/>
            </a:br>
            <a:r>
              <a:rPr lang="de-DE" dirty="0"/>
              <a:t>max. 3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7546" y="5171180"/>
            <a:ext cx="5649954" cy="786129"/>
          </a:xfrm>
          <a:prstGeom prst="rect">
            <a:avLst/>
          </a:prstGeom>
        </p:spPr>
        <p:txBody>
          <a:bodyPr lIns="658800"/>
          <a:lstStyle>
            <a:lvl1pPr marL="0" indent="0" algn="l">
              <a:lnSpc>
                <a:spcPct val="112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0" y="6269030"/>
            <a:ext cx="5651500" cy="287371"/>
          </a:xfrm>
        </p:spPr>
        <p:txBody>
          <a:bodyPr lIns="65880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13" name="Onlinebild-Platzhalter 7">
            <a:extLst>
              <a:ext uri="{FF2B5EF4-FFF2-40B4-BE49-F238E27FC236}">
                <a16:creationId xmlns:a16="http://schemas.microsoft.com/office/drawing/2014/main" id="{526B4E44-75C1-4EE1-869B-678A24CA5FC9}"/>
              </a:ext>
            </a:extLst>
          </p:cNvPr>
          <p:cNvSpPr>
            <a:spLocks noGrp="1" noChangeAspect="1"/>
          </p:cNvSpPr>
          <p:nvPr>
            <p:ph type="clipArt" sz="quarter" idx="15" hasCustomPrompt="1"/>
          </p:nvPr>
        </p:nvSpPr>
        <p:spPr>
          <a:xfrm>
            <a:off x="385403" y="6144106"/>
            <a:ext cx="5410800" cy="54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en-US" dirty="0"/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00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061">
          <p15:clr>
            <a:srgbClr val="FBAE40"/>
          </p15:clr>
        </p15:guide>
        <p15:guide id="3" orient="horz" pos="1626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325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4"/>
          </p:nvPr>
        </p:nvSpPr>
        <p:spPr>
          <a:xfrm>
            <a:off x="442800" y="1452563"/>
            <a:ext cx="11304000" cy="451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586002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g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5543550" cy="4510800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95000"/>
              </a:lnSpc>
              <a:spcBef>
                <a:spcPts val="0"/>
              </a:spcBef>
              <a:defRPr sz="3500" b="1">
                <a:solidFill>
                  <a:schemeClr val="accent2"/>
                </a:solidFill>
              </a:defRPr>
            </a:lvl1pPr>
            <a:lvl2pPr marL="360000" indent="-36000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500">
                <a:solidFill>
                  <a:schemeClr val="accent2"/>
                </a:solidFill>
              </a:defRPr>
            </a:lvl2pPr>
            <a:lvl3pPr marL="360000" indent="-36000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500" b="1">
                <a:solidFill>
                  <a:schemeClr val="accent2"/>
                </a:solidFill>
              </a:defRPr>
            </a:lvl3pPr>
            <a:lvl4pPr marL="360000" indent="-360000">
              <a:spcBef>
                <a:spcPts val="0"/>
              </a:spcBef>
              <a:buFont typeface="Arial" panose="020B0604020202020204" pitchFamily="34" charset="0"/>
              <a:buChar char="•"/>
              <a:defRPr sz="3500">
                <a:solidFill>
                  <a:schemeClr val="accent2"/>
                </a:solidFill>
              </a:defRPr>
            </a:lvl4pPr>
            <a:lvl5pPr marL="0" indent="0">
              <a:lnSpc>
                <a:spcPct val="95000"/>
              </a:lnSpc>
              <a:spcBef>
                <a:spcPts val="1000"/>
              </a:spcBef>
              <a:buFontTx/>
              <a:buNone/>
              <a:defRPr sz="35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3236EE2-2407-49D7-A11B-62A33EFAB903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0585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Regi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3322463" y="1454400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6205538" y="1452563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9085088" y="1452563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/>
          </p:nvPr>
        </p:nvSpPr>
        <p:spPr>
          <a:xfrm>
            <a:off x="442800" y="516155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33228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22"/>
          </p:nvPr>
        </p:nvSpPr>
        <p:spPr>
          <a:xfrm>
            <a:off x="62064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3"/>
          </p:nvPr>
        </p:nvSpPr>
        <p:spPr>
          <a:xfrm>
            <a:off x="90864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8518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pos="1958" userDrawn="1">
          <p15:clr>
            <a:srgbClr val="FBAE40"/>
          </p15:clr>
        </p15:guide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  <p15:guide id="3" pos="2091" userDrawn="1">
          <p15:clr>
            <a:srgbClr val="FBAE40"/>
          </p15:clr>
        </p15:guide>
        <p15:guide id="4" pos="5588" userDrawn="1">
          <p15:clr>
            <a:srgbClr val="FBAE40"/>
          </p15:clr>
        </p15:guide>
        <p15:guide id="5" pos="572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tsche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1454400"/>
            <a:ext cx="6098400" cy="5403599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6098400" y="1454400"/>
            <a:ext cx="6098400" cy="54035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673732"/>
            <a:ext cx="5437187" cy="1118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311899" y="1674000"/>
            <a:ext cx="5441987" cy="1118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42913" y="3103563"/>
            <a:ext cx="5437187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9"/>
          </p:nvPr>
        </p:nvSpPr>
        <p:spPr>
          <a:xfrm>
            <a:off x="6311899" y="3103563"/>
            <a:ext cx="5441988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23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37" name="Foliennummernplatzhalter 3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2D722EAD-8A28-4218-AC41-0F49E5293A66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802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63" userDrawn="1">
          <p15:clr>
            <a:srgbClr val="FBAE40"/>
          </p15:clr>
        </p15:guide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che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2366433" y="2825197"/>
            <a:ext cx="3620030" cy="314062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8127470" y="2825198"/>
            <a:ext cx="3620030" cy="314062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48422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778" userDrawn="1">
          <p15:clr>
            <a:srgbClr val="FBAE40"/>
          </p15:clr>
        </p15:guide>
        <p15:guide id="1" pos="3772" userDrawn="1">
          <p15:clr>
            <a:srgbClr val="FBAE40"/>
          </p15:clr>
        </p15:guide>
        <p15:guide id="2" pos="5112" userDrawn="1">
          <p15:clr>
            <a:srgbClr val="FBAE40"/>
          </p15:clr>
        </p15:guide>
        <p15:guide id="3" pos="148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tsche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6098400" y="3430800"/>
            <a:ext cx="6098400" cy="343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6098400" y="0"/>
            <a:ext cx="6098400" cy="3430800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801" y="406264"/>
            <a:ext cx="5437300" cy="5559561"/>
          </a:xfrm>
        </p:spPr>
        <p:txBody>
          <a:bodyPr/>
          <a:lstStyle>
            <a:lvl1pPr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elmaster-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8855241" y="640800"/>
            <a:ext cx="3256547" cy="214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9"/>
          </p:nvPr>
        </p:nvSpPr>
        <p:spPr>
          <a:xfrm>
            <a:off x="8853788" y="4072501"/>
            <a:ext cx="3258000" cy="2147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6311900" y="1580286"/>
            <a:ext cx="2462783" cy="1473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310799" y="4646051"/>
            <a:ext cx="2462400" cy="147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9C9E712-F95C-42B3-AFBD-DEB725363FF4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5560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30150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11808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2366433" y="4642812"/>
            <a:ext cx="3620030" cy="1323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250" b="1">
                <a:solidFill>
                  <a:schemeClr val="accent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2250">
                <a:solidFill>
                  <a:schemeClr val="accent2"/>
                </a:solidFill>
              </a:defRPr>
            </a:lvl2pPr>
            <a:lvl3pPr>
              <a:defRPr sz="225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8127470" y="4644000"/>
            <a:ext cx="3620030" cy="1324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250" b="1">
                <a:solidFill>
                  <a:schemeClr val="accent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225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Bildplatzhalter 6"/>
          <p:cNvSpPr>
            <a:spLocks noGrp="1" noChangeAspect="1"/>
          </p:cNvSpPr>
          <p:nvPr>
            <p:ph type="pic" sz="quarter" idx="18"/>
          </p:nvPr>
        </p:nvSpPr>
        <p:spPr>
          <a:xfrm>
            <a:off x="442914" y="4266856"/>
            <a:ext cx="1688342" cy="168834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9"/>
          </p:nvPr>
        </p:nvSpPr>
        <p:spPr>
          <a:xfrm>
            <a:off x="6221640" y="4266856"/>
            <a:ext cx="1688342" cy="168834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41434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5112">
          <p15:clr>
            <a:srgbClr val="FBAE40"/>
          </p15:clr>
        </p15:guide>
        <p15:guide id="3" orient="horz" pos="1778">
          <p15:clr>
            <a:srgbClr val="FBAE40"/>
          </p15:clr>
        </p15:guide>
        <p15:guide id="4" pos="148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41CF53C-653C-49F1-8B9B-710124FF6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094800" y="1629057"/>
            <a:ext cx="6102000" cy="525637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82862"/>
            <a:ext cx="6094800" cy="4275137"/>
          </a:xfrm>
          <a:noFill/>
        </p:spPr>
        <p:txBody>
          <a:bodyPr lIns="658800" tIns="1090800" rIns="360000" bIns="1983600" anchor="t" anchorCtr="0"/>
          <a:lstStyle>
            <a:lvl1pPr algn="l">
              <a:lnSpc>
                <a:spcPct val="1000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4060174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27" userDrawn="1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78"/>
            <a:ext cx="12194773" cy="685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sp>
        <p:nvSpPr>
          <p:cNvPr id="16" name="Tabellenplatzhalter 15"/>
          <p:cNvSpPr>
            <a:spLocks noGrp="1"/>
          </p:cNvSpPr>
          <p:nvPr>
            <p:ph type="tbl" sz="quarter" idx="16"/>
          </p:nvPr>
        </p:nvSpPr>
        <p:spPr>
          <a:xfrm>
            <a:off x="6096001" y="1452563"/>
            <a:ext cx="6096000" cy="451326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D58453F-24DF-495C-A479-5DA33AC935D3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DC1FDF7-031E-493D-9CE9-A7A2D2D6352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440362F-7980-4ECA-934C-2ABEEADF17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bteilung, Referent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E9E24D1-6A47-4DB7-9FF5-44400DA1343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5595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88172BA-070E-4D32-B774-536D56D2F31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Onlinebild-Platzhalter 7">
            <a:extLst>
              <a:ext uri="{FF2B5EF4-FFF2-40B4-BE49-F238E27FC236}">
                <a16:creationId xmlns:a16="http://schemas.microsoft.com/office/drawing/2014/main" id="{AE0AD5DB-97C9-4A22-A289-226ABA8FFAB4}"/>
              </a:ext>
            </a:extLst>
          </p:cNvPr>
          <p:cNvSpPr>
            <a:spLocks noGrp="1" noChangeAspect="1"/>
          </p:cNvSpPr>
          <p:nvPr>
            <p:ph type="clipArt" sz="quarter" idx="15" hasCustomPrompt="1"/>
          </p:nvPr>
        </p:nvSpPr>
        <p:spPr>
          <a:xfrm>
            <a:off x="385403" y="6144106"/>
            <a:ext cx="5410800" cy="54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en-US" dirty="0"/>
              <a:t>.</a:t>
            </a:r>
            <a:endParaRPr lang="de-DE" dirty="0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3F519ABA-7BD8-4727-A684-F2AF3A45FB59}"/>
              </a:ext>
            </a:extLst>
          </p:cNvPr>
          <p:cNvSpPr>
            <a:spLocks noGrp="1" noChangeAspect="1"/>
          </p:cNvSpPr>
          <p:nvPr>
            <p:ph type="clipArt" sz="quarter" idx="10" hasCustomPrompt="1"/>
          </p:nvPr>
        </p:nvSpPr>
        <p:spPr>
          <a:xfrm>
            <a:off x="6094800" y="1630800"/>
            <a:ext cx="6102000" cy="525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82862"/>
            <a:ext cx="6094800" cy="4275137"/>
          </a:xfrm>
          <a:noFill/>
        </p:spPr>
        <p:txBody>
          <a:bodyPr lIns="658800" tIns="1090800" rIns="360000" bIns="1983600" anchor="t" anchorCtr="0"/>
          <a:lstStyle>
            <a:lvl1pPr algn="l">
              <a:lnSpc>
                <a:spcPct val="1000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669820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27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_Bild_zwei_Spalte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F47A2F-B3ED-4473-9622-49D3466D3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718739"/>
            <a:ext cx="11107737" cy="1083073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3200">
                <a:solidFill>
                  <a:srgbClr val="3C3C3B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27426A-3739-4194-B5CC-A07FF9E66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0000" y="6318000"/>
            <a:ext cx="41148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© Q I Agentur für Forschung GmbH 202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CCE8FA-66CD-44BD-AA3C-AF6B7B9FD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05875" y="6318000"/>
            <a:ext cx="27432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ECB3803-06C2-4845-9E82-8BFEA896AF6E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7" name="Gruppieren 5">
            <a:extLst>
              <a:ext uri="{FF2B5EF4-FFF2-40B4-BE49-F238E27FC236}">
                <a16:creationId xmlns:a16="http://schemas.microsoft.com/office/drawing/2014/main" id="{EF5F7EEB-8F85-41EB-A0A8-63D6322FA386}"/>
              </a:ext>
            </a:extLst>
          </p:cNvPr>
          <p:cNvGrpSpPr/>
          <p:nvPr userDrawn="1"/>
        </p:nvGrpSpPr>
        <p:grpSpPr>
          <a:xfrm>
            <a:off x="5570083" y="157219"/>
            <a:ext cx="1051835" cy="325381"/>
            <a:chOff x="4287043" y="462019"/>
            <a:chExt cx="3617913" cy="1119187"/>
          </a:xfrm>
        </p:grpSpPr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CDDA4F70-AE21-4DB9-86A9-C3BB67596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7043" y="1378006"/>
              <a:ext cx="3617913" cy="203200"/>
            </a:xfrm>
            <a:custGeom>
              <a:avLst/>
              <a:gdLst>
                <a:gd name="T0" fmla="*/ 85 w 2067"/>
                <a:gd name="T1" fmla="*/ 111 h 115"/>
                <a:gd name="T2" fmla="*/ 14 w 2067"/>
                <a:gd name="T3" fmla="*/ 112 h 115"/>
                <a:gd name="T4" fmla="*/ 42 w 2067"/>
                <a:gd name="T5" fmla="*/ 49 h 115"/>
                <a:gd name="T6" fmla="*/ 181 w 2067"/>
                <a:gd name="T7" fmla="*/ 45 h 115"/>
                <a:gd name="T8" fmla="*/ 175 w 2067"/>
                <a:gd name="T9" fmla="*/ 84 h 115"/>
                <a:gd name="T10" fmla="*/ 188 w 2067"/>
                <a:gd name="T11" fmla="*/ 74 h 115"/>
                <a:gd name="T12" fmla="*/ 227 w 2067"/>
                <a:gd name="T13" fmla="*/ 27 h 115"/>
                <a:gd name="T14" fmla="*/ 240 w 2067"/>
                <a:gd name="T15" fmla="*/ 37 h 115"/>
                <a:gd name="T16" fmla="*/ 240 w 2067"/>
                <a:gd name="T17" fmla="*/ 75 h 115"/>
                <a:gd name="T18" fmla="*/ 229 w 2067"/>
                <a:gd name="T19" fmla="*/ 114 h 115"/>
                <a:gd name="T20" fmla="*/ 382 w 2067"/>
                <a:gd name="T21" fmla="*/ 88 h 115"/>
                <a:gd name="T22" fmla="*/ 395 w 2067"/>
                <a:gd name="T23" fmla="*/ 113 h 115"/>
                <a:gd name="T24" fmla="*/ 332 w 2067"/>
                <a:gd name="T25" fmla="*/ 114 h 115"/>
                <a:gd name="T26" fmla="*/ 428 w 2067"/>
                <a:gd name="T27" fmla="*/ 35 h 115"/>
                <a:gd name="T28" fmla="*/ 485 w 2067"/>
                <a:gd name="T29" fmla="*/ 37 h 115"/>
                <a:gd name="T30" fmla="*/ 451 w 2067"/>
                <a:gd name="T31" fmla="*/ 37 h 115"/>
                <a:gd name="T32" fmla="*/ 554 w 2067"/>
                <a:gd name="T33" fmla="*/ 103 h 115"/>
                <a:gd name="T34" fmla="*/ 589 w 2067"/>
                <a:gd name="T35" fmla="*/ 81 h 115"/>
                <a:gd name="T36" fmla="*/ 669 w 2067"/>
                <a:gd name="T37" fmla="*/ 25 h 115"/>
                <a:gd name="T38" fmla="*/ 681 w 2067"/>
                <a:gd name="T39" fmla="*/ 113 h 115"/>
                <a:gd name="T40" fmla="*/ 632 w 2067"/>
                <a:gd name="T41" fmla="*/ 112 h 115"/>
                <a:gd name="T42" fmla="*/ 645 w 2067"/>
                <a:gd name="T43" fmla="*/ 68 h 115"/>
                <a:gd name="T44" fmla="*/ 838 w 2067"/>
                <a:gd name="T45" fmla="*/ 35 h 115"/>
                <a:gd name="T46" fmla="*/ 832 w 2067"/>
                <a:gd name="T47" fmla="*/ 76 h 115"/>
                <a:gd name="T48" fmla="*/ 783 w 2067"/>
                <a:gd name="T49" fmla="*/ 112 h 115"/>
                <a:gd name="T50" fmla="*/ 886 w 2067"/>
                <a:gd name="T51" fmla="*/ 80 h 115"/>
                <a:gd name="T52" fmla="*/ 942 w 2067"/>
                <a:gd name="T53" fmla="*/ 27 h 115"/>
                <a:gd name="T54" fmla="*/ 893 w 2067"/>
                <a:gd name="T55" fmla="*/ 0 h 115"/>
                <a:gd name="T56" fmla="*/ 930 w 2067"/>
                <a:gd name="T57" fmla="*/ 7 h 115"/>
                <a:gd name="T58" fmla="*/ 1050 w 2067"/>
                <a:gd name="T59" fmla="*/ 52 h 115"/>
                <a:gd name="T60" fmla="*/ 1017 w 2067"/>
                <a:gd name="T61" fmla="*/ 79 h 115"/>
                <a:gd name="T62" fmla="*/ 985 w 2067"/>
                <a:gd name="T63" fmla="*/ 27 h 115"/>
                <a:gd name="T64" fmla="*/ 1021 w 2067"/>
                <a:gd name="T65" fmla="*/ 68 h 115"/>
                <a:gd name="T66" fmla="*/ 1189 w 2067"/>
                <a:gd name="T67" fmla="*/ 37 h 115"/>
                <a:gd name="T68" fmla="*/ 1183 w 2067"/>
                <a:gd name="T69" fmla="*/ 78 h 115"/>
                <a:gd name="T70" fmla="*/ 1136 w 2067"/>
                <a:gd name="T71" fmla="*/ 27 h 115"/>
                <a:gd name="T72" fmla="*/ 1266 w 2067"/>
                <a:gd name="T73" fmla="*/ 103 h 115"/>
                <a:gd name="T74" fmla="*/ 1352 w 2067"/>
                <a:gd name="T75" fmla="*/ 25 h 115"/>
                <a:gd name="T76" fmla="*/ 1401 w 2067"/>
                <a:gd name="T77" fmla="*/ 114 h 115"/>
                <a:gd name="T78" fmla="*/ 1352 w 2067"/>
                <a:gd name="T79" fmla="*/ 114 h 115"/>
                <a:gd name="T80" fmla="*/ 1363 w 2067"/>
                <a:gd name="T81" fmla="*/ 37 h 115"/>
                <a:gd name="T82" fmla="*/ 1476 w 2067"/>
                <a:gd name="T83" fmla="*/ 104 h 115"/>
                <a:gd name="T84" fmla="*/ 1500 w 2067"/>
                <a:gd name="T85" fmla="*/ 36 h 115"/>
                <a:gd name="T86" fmla="*/ 1504 w 2067"/>
                <a:gd name="T87" fmla="*/ 91 h 115"/>
                <a:gd name="T88" fmla="*/ 1612 w 2067"/>
                <a:gd name="T89" fmla="*/ 39 h 115"/>
                <a:gd name="T90" fmla="*/ 1603 w 2067"/>
                <a:gd name="T91" fmla="*/ 94 h 115"/>
                <a:gd name="T92" fmla="*/ 1581 w 2067"/>
                <a:gd name="T93" fmla="*/ 24 h 115"/>
                <a:gd name="T94" fmla="*/ 1709 w 2067"/>
                <a:gd name="T95" fmla="*/ 63 h 115"/>
                <a:gd name="T96" fmla="*/ 1720 w 2067"/>
                <a:gd name="T97" fmla="*/ 114 h 115"/>
                <a:gd name="T98" fmla="*/ 1660 w 2067"/>
                <a:gd name="T99" fmla="*/ 114 h 115"/>
                <a:gd name="T100" fmla="*/ 1776 w 2067"/>
                <a:gd name="T101" fmla="*/ 25 h 115"/>
                <a:gd name="T102" fmla="*/ 1823 w 2067"/>
                <a:gd name="T103" fmla="*/ 25 h 115"/>
                <a:gd name="T104" fmla="*/ 1765 w 2067"/>
                <a:gd name="T105" fmla="*/ 27 h 115"/>
                <a:gd name="T106" fmla="*/ 1938 w 2067"/>
                <a:gd name="T107" fmla="*/ 27 h 115"/>
                <a:gd name="T108" fmla="*/ 1945 w 2067"/>
                <a:gd name="T109" fmla="*/ 115 h 115"/>
                <a:gd name="T110" fmla="*/ 1877 w 2067"/>
                <a:gd name="T111" fmla="*/ 112 h 115"/>
                <a:gd name="T112" fmla="*/ 2056 w 2067"/>
                <a:gd name="T113" fmla="*/ 45 h 115"/>
                <a:gd name="T114" fmla="*/ 2041 w 2067"/>
                <a:gd name="T115" fmla="*/ 84 h 115"/>
                <a:gd name="T116" fmla="*/ 2067 w 2067"/>
                <a:gd name="T117" fmla="*/ 10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7" h="115">
                  <a:moveTo>
                    <a:pt x="1" y="111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4"/>
                    <a:pt x="42" y="24"/>
                    <a:pt x="42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5" y="24"/>
                    <a:pt x="46" y="25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3"/>
                    <a:pt x="84" y="114"/>
                    <a:pt x="82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3" y="114"/>
                    <a:pt x="72" y="113"/>
                    <a:pt x="71" y="112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19" y="101"/>
                    <a:pt x="17" y="106"/>
                    <a:pt x="14" y="112"/>
                  </a:cubicBezTo>
                  <a:cubicBezTo>
                    <a:pt x="14" y="113"/>
                    <a:pt x="13" y="114"/>
                    <a:pt x="11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1" y="114"/>
                    <a:pt x="0" y="113"/>
                    <a:pt x="1" y="111"/>
                  </a:cubicBezTo>
                  <a:close/>
                  <a:moveTo>
                    <a:pt x="59" y="84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59" y="84"/>
                  </a:lnTo>
                  <a:close/>
                  <a:moveTo>
                    <a:pt x="155" y="24"/>
                  </a:moveTo>
                  <a:cubicBezTo>
                    <a:pt x="168" y="24"/>
                    <a:pt x="178" y="28"/>
                    <a:pt x="186" y="36"/>
                  </a:cubicBezTo>
                  <a:cubicBezTo>
                    <a:pt x="187" y="37"/>
                    <a:pt x="187" y="38"/>
                    <a:pt x="186" y="39"/>
                  </a:cubicBezTo>
                  <a:cubicBezTo>
                    <a:pt x="184" y="41"/>
                    <a:pt x="183" y="43"/>
                    <a:pt x="181" y="45"/>
                  </a:cubicBezTo>
                  <a:cubicBezTo>
                    <a:pt x="180" y="46"/>
                    <a:pt x="179" y="46"/>
                    <a:pt x="177" y="45"/>
                  </a:cubicBezTo>
                  <a:cubicBezTo>
                    <a:pt x="171" y="40"/>
                    <a:pt x="163" y="36"/>
                    <a:pt x="156" y="36"/>
                  </a:cubicBezTo>
                  <a:cubicBezTo>
                    <a:pt x="138" y="36"/>
                    <a:pt x="124" y="52"/>
                    <a:pt x="124" y="69"/>
                  </a:cubicBezTo>
                  <a:cubicBezTo>
                    <a:pt x="124" y="87"/>
                    <a:pt x="138" y="102"/>
                    <a:pt x="156" y="102"/>
                  </a:cubicBezTo>
                  <a:cubicBezTo>
                    <a:pt x="166" y="102"/>
                    <a:pt x="174" y="99"/>
                    <a:pt x="175" y="98"/>
                  </a:cubicBezTo>
                  <a:cubicBezTo>
                    <a:pt x="175" y="84"/>
                    <a:pt x="175" y="84"/>
                    <a:pt x="175" y="84"/>
                  </a:cubicBezTo>
                  <a:cubicBezTo>
                    <a:pt x="162" y="84"/>
                    <a:pt x="162" y="84"/>
                    <a:pt x="162" y="84"/>
                  </a:cubicBezTo>
                  <a:cubicBezTo>
                    <a:pt x="161" y="84"/>
                    <a:pt x="160" y="83"/>
                    <a:pt x="160" y="82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60" y="73"/>
                    <a:pt x="161" y="72"/>
                    <a:pt x="162" y="72"/>
                  </a:cubicBezTo>
                  <a:cubicBezTo>
                    <a:pt x="185" y="72"/>
                    <a:pt x="185" y="72"/>
                    <a:pt x="185" y="72"/>
                  </a:cubicBezTo>
                  <a:cubicBezTo>
                    <a:pt x="187" y="72"/>
                    <a:pt x="188" y="73"/>
                    <a:pt x="188" y="74"/>
                  </a:cubicBezTo>
                  <a:cubicBezTo>
                    <a:pt x="188" y="84"/>
                    <a:pt x="188" y="95"/>
                    <a:pt x="188" y="105"/>
                  </a:cubicBezTo>
                  <a:cubicBezTo>
                    <a:pt x="188" y="106"/>
                    <a:pt x="187" y="107"/>
                    <a:pt x="187" y="107"/>
                  </a:cubicBezTo>
                  <a:cubicBezTo>
                    <a:pt x="187" y="107"/>
                    <a:pt x="174" y="115"/>
                    <a:pt x="155" y="115"/>
                  </a:cubicBezTo>
                  <a:cubicBezTo>
                    <a:pt x="130" y="115"/>
                    <a:pt x="109" y="95"/>
                    <a:pt x="109" y="70"/>
                  </a:cubicBezTo>
                  <a:cubicBezTo>
                    <a:pt x="109" y="44"/>
                    <a:pt x="130" y="24"/>
                    <a:pt x="155" y="24"/>
                  </a:cubicBezTo>
                  <a:close/>
                  <a:moveTo>
                    <a:pt x="227" y="27"/>
                  </a:moveTo>
                  <a:cubicBezTo>
                    <a:pt x="227" y="26"/>
                    <a:pt x="228" y="25"/>
                    <a:pt x="229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2" y="25"/>
                    <a:pt x="283" y="26"/>
                    <a:pt x="283" y="27"/>
                  </a:cubicBezTo>
                  <a:cubicBezTo>
                    <a:pt x="283" y="35"/>
                    <a:pt x="283" y="35"/>
                    <a:pt x="283" y="35"/>
                  </a:cubicBezTo>
                  <a:cubicBezTo>
                    <a:pt x="283" y="36"/>
                    <a:pt x="282" y="37"/>
                    <a:pt x="280" y="37"/>
                  </a:cubicBezTo>
                  <a:cubicBezTo>
                    <a:pt x="240" y="37"/>
                    <a:pt x="240" y="37"/>
                    <a:pt x="240" y="37"/>
                  </a:cubicBezTo>
                  <a:cubicBezTo>
                    <a:pt x="240" y="63"/>
                    <a:pt x="240" y="63"/>
                    <a:pt x="240" y="63"/>
                  </a:cubicBezTo>
                  <a:cubicBezTo>
                    <a:pt x="274" y="63"/>
                    <a:pt x="274" y="63"/>
                    <a:pt x="274" y="63"/>
                  </a:cubicBezTo>
                  <a:cubicBezTo>
                    <a:pt x="275" y="63"/>
                    <a:pt x="277" y="64"/>
                    <a:pt x="277" y="65"/>
                  </a:cubicBezTo>
                  <a:cubicBezTo>
                    <a:pt x="277" y="73"/>
                    <a:pt x="277" y="73"/>
                    <a:pt x="277" y="73"/>
                  </a:cubicBezTo>
                  <a:cubicBezTo>
                    <a:pt x="277" y="74"/>
                    <a:pt x="275" y="75"/>
                    <a:pt x="274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0" y="102"/>
                    <a:pt x="240" y="102"/>
                    <a:pt x="240" y="102"/>
                  </a:cubicBezTo>
                  <a:cubicBezTo>
                    <a:pt x="280" y="102"/>
                    <a:pt x="280" y="102"/>
                    <a:pt x="280" y="102"/>
                  </a:cubicBezTo>
                  <a:cubicBezTo>
                    <a:pt x="282" y="102"/>
                    <a:pt x="283" y="103"/>
                    <a:pt x="283" y="105"/>
                  </a:cubicBezTo>
                  <a:cubicBezTo>
                    <a:pt x="283" y="112"/>
                    <a:pt x="283" y="112"/>
                    <a:pt x="283" y="112"/>
                  </a:cubicBezTo>
                  <a:cubicBezTo>
                    <a:pt x="283" y="113"/>
                    <a:pt x="282" y="114"/>
                    <a:pt x="280" y="114"/>
                  </a:cubicBezTo>
                  <a:cubicBezTo>
                    <a:pt x="229" y="114"/>
                    <a:pt x="229" y="114"/>
                    <a:pt x="229" y="114"/>
                  </a:cubicBezTo>
                  <a:cubicBezTo>
                    <a:pt x="228" y="114"/>
                    <a:pt x="227" y="113"/>
                    <a:pt x="227" y="112"/>
                  </a:cubicBezTo>
                  <a:lnTo>
                    <a:pt x="227" y="27"/>
                  </a:lnTo>
                  <a:close/>
                  <a:moveTo>
                    <a:pt x="321" y="26"/>
                  </a:moveTo>
                  <a:cubicBezTo>
                    <a:pt x="321" y="25"/>
                    <a:pt x="322" y="24"/>
                    <a:pt x="324" y="24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82" y="88"/>
                    <a:pt x="382" y="88"/>
                    <a:pt x="382" y="88"/>
                  </a:cubicBezTo>
                  <a:cubicBezTo>
                    <a:pt x="382" y="88"/>
                    <a:pt x="382" y="88"/>
                    <a:pt x="382" y="88"/>
                  </a:cubicBezTo>
                  <a:cubicBezTo>
                    <a:pt x="382" y="27"/>
                    <a:pt x="382" y="27"/>
                    <a:pt x="382" y="27"/>
                  </a:cubicBezTo>
                  <a:cubicBezTo>
                    <a:pt x="382" y="26"/>
                    <a:pt x="383" y="25"/>
                    <a:pt x="385" y="25"/>
                  </a:cubicBezTo>
                  <a:cubicBezTo>
                    <a:pt x="393" y="25"/>
                    <a:pt x="393" y="25"/>
                    <a:pt x="393" y="25"/>
                  </a:cubicBezTo>
                  <a:cubicBezTo>
                    <a:pt x="394" y="25"/>
                    <a:pt x="395" y="26"/>
                    <a:pt x="395" y="27"/>
                  </a:cubicBezTo>
                  <a:cubicBezTo>
                    <a:pt x="395" y="113"/>
                    <a:pt x="395" y="113"/>
                    <a:pt x="395" y="113"/>
                  </a:cubicBezTo>
                  <a:cubicBezTo>
                    <a:pt x="395" y="114"/>
                    <a:pt x="394" y="115"/>
                    <a:pt x="393" y="115"/>
                  </a:cubicBezTo>
                  <a:cubicBezTo>
                    <a:pt x="390" y="115"/>
                    <a:pt x="390" y="115"/>
                    <a:pt x="390" y="115"/>
                  </a:cubicBezTo>
                  <a:cubicBezTo>
                    <a:pt x="334" y="50"/>
                    <a:pt x="334" y="50"/>
                    <a:pt x="334" y="50"/>
                  </a:cubicBezTo>
                  <a:cubicBezTo>
                    <a:pt x="334" y="50"/>
                    <a:pt x="334" y="50"/>
                    <a:pt x="334" y="50"/>
                  </a:cubicBezTo>
                  <a:cubicBezTo>
                    <a:pt x="334" y="112"/>
                    <a:pt x="334" y="112"/>
                    <a:pt x="334" y="112"/>
                  </a:cubicBezTo>
                  <a:cubicBezTo>
                    <a:pt x="334" y="113"/>
                    <a:pt x="333" y="114"/>
                    <a:pt x="332" y="114"/>
                  </a:cubicBezTo>
                  <a:cubicBezTo>
                    <a:pt x="324" y="114"/>
                    <a:pt x="324" y="114"/>
                    <a:pt x="324" y="114"/>
                  </a:cubicBezTo>
                  <a:cubicBezTo>
                    <a:pt x="322" y="114"/>
                    <a:pt x="321" y="113"/>
                    <a:pt x="321" y="112"/>
                  </a:cubicBezTo>
                  <a:lnTo>
                    <a:pt x="321" y="26"/>
                  </a:lnTo>
                  <a:close/>
                  <a:moveTo>
                    <a:pt x="451" y="37"/>
                  </a:moveTo>
                  <a:cubicBezTo>
                    <a:pt x="431" y="37"/>
                    <a:pt x="431" y="37"/>
                    <a:pt x="431" y="37"/>
                  </a:cubicBezTo>
                  <a:cubicBezTo>
                    <a:pt x="429" y="37"/>
                    <a:pt x="428" y="36"/>
                    <a:pt x="428" y="35"/>
                  </a:cubicBezTo>
                  <a:cubicBezTo>
                    <a:pt x="428" y="27"/>
                    <a:pt x="428" y="27"/>
                    <a:pt x="428" y="27"/>
                  </a:cubicBezTo>
                  <a:cubicBezTo>
                    <a:pt x="428" y="26"/>
                    <a:pt x="429" y="25"/>
                    <a:pt x="431" y="25"/>
                  </a:cubicBezTo>
                  <a:cubicBezTo>
                    <a:pt x="485" y="25"/>
                    <a:pt x="485" y="25"/>
                    <a:pt x="485" y="25"/>
                  </a:cubicBezTo>
                  <a:cubicBezTo>
                    <a:pt x="487" y="25"/>
                    <a:pt x="488" y="26"/>
                    <a:pt x="488" y="27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88" y="36"/>
                    <a:pt x="487" y="37"/>
                    <a:pt x="485" y="37"/>
                  </a:cubicBezTo>
                  <a:cubicBezTo>
                    <a:pt x="465" y="37"/>
                    <a:pt x="465" y="37"/>
                    <a:pt x="465" y="37"/>
                  </a:cubicBezTo>
                  <a:cubicBezTo>
                    <a:pt x="465" y="112"/>
                    <a:pt x="465" y="112"/>
                    <a:pt x="465" y="112"/>
                  </a:cubicBezTo>
                  <a:cubicBezTo>
                    <a:pt x="465" y="113"/>
                    <a:pt x="463" y="114"/>
                    <a:pt x="462" y="114"/>
                  </a:cubicBezTo>
                  <a:cubicBezTo>
                    <a:pt x="454" y="114"/>
                    <a:pt x="454" y="114"/>
                    <a:pt x="454" y="114"/>
                  </a:cubicBezTo>
                  <a:cubicBezTo>
                    <a:pt x="453" y="114"/>
                    <a:pt x="451" y="113"/>
                    <a:pt x="451" y="112"/>
                  </a:cubicBezTo>
                  <a:lnTo>
                    <a:pt x="451" y="37"/>
                  </a:lnTo>
                  <a:close/>
                  <a:moveTo>
                    <a:pt x="520" y="27"/>
                  </a:moveTo>
                  <a:cubicBezTo>
                    <a:pt x="520" y="26"/>
                    <a:pt x="521" y="25"/>
                    <a:pt x="522" y="25"/>
                  </a:cubicBezTo>
                  <a:cubicBezTo>
                    <a:pt x="531" y="25"/>
                    <a:pt x="531" y="25"/>
                    <a:pt x="531" y="25"/>
                  </a:cubicBezTo>
                  <a:cubicBezTo>
                    <a:pt x="532" y="25"/>
                    <a:pt x="533" y="26"/>
                    <a:pt x="533" y="27"/>
                  </a:cubicBezTo>
                  <a:cubicBezTo>
                    <a:pt x="533" y="80"/>
                    <a:pt x="533" y="80"/>
                    <a:pt x="533" y="80"/>
                  </a:cubicBezTo>
                  <a:cubicBezTo>
                    <a:pt x="533" y="93"/>
                    <a:pt x="541" y="103"/>
                    <a:pt x="554" y="103"/>
                  </a:cubicBezTo>
                  <a:cubicBezTo>
                    <a:pt x="567" y="103"/>
                    <a:pt x="576" y="93"/>
                    <a:pt x="576" y="80"/>
                  </a:cubicBezTo>
                  <a:cubicBezTo>
                    <a:pt x="576" y="27"/>
                    <a:pt x="576" y="27"/>
                    <a:pt x="576" y="27"/>
                  </a:cubicBezTo>
                  <a:cubicBezTo>
                    <a:pt x="576" y="26"/>
                    <a:pt x="577" y="25"/>
                    <a:pt x="578" y="25"/>
                  </a:cubicBezTo>
                  <a:cubicBezTo>
                    <a:pt x="587" y="25"/>
                    <a:pt x="587" y="25"/>
                    <a:pt x="587" y="25"/>
                  </a:cubicBezTo>
                  <a:cubicBezTo>
                    <a:pt x="588" y="25"/>
                    <a:pt x="589" y="26"/>
                    <a:pt x="589" y="27"/>
                  </a:cubicBezTo>
                  <a:cubicBezTo>
                    <a:pt x="589" y="81"/>
                    <a:pt x="589" y="81"/>
                    <a:pt x="589" y="81"/>
                  </a:cubicBezTo>
                  <a:cubicBezTo>
                    <a:pt x="589" y="100"/>
                    <a:pt x="574" y="115"/>
                    <a:pt x="554" y="115"/>
                  </a:cubicBezTo>
                  <a:cubicBezTo>
                    <a:pt x="534" y="115"/>
                    <a:pt x="520" y="100"/>
                    <a:pt x="520" y="81"/>
                  </a:cubicBezTo>
                  <a:lnTo>
                    <a:pt x="520" y="27"/>
                  </a:lnTo>
                  <a:close/>
                  <a:moveTo>
                    <a:pt x="632" y="27"/>
                  </a:moveTo>
                  <a:cubicBezTo>
                    <a:pt x="632" y="26"/>
                    <a:pt x="633" y="25"/>
                    <a:pt x="634" y="25"/>
                  </a:cubicBezTo>
                  <a:cubicBezTo>
                    <a:pt x="669" y="25"/>
                    <a:pt x="669" y="25"/>
                    <a:pt x="669" y="25"/>
                  </a:cubicBezTo>
                  <a:cubicBezTo>
                    <a:pt x="684" y="25"/>
                    <a:pt x="697" y="37"/>
                    <a:pt x="697" y="52"/>
                  </a:cubicBezTo>
                  <a:cubicBezTo>
                    <a:pt x="697" y="64"/>
                    <a:pt x="689" y="74"/>
                    <a:pt x="678" y="78"/>
                  </a:cubicBezTo>
                  <a:cubicBezTo>
                    <a:pt x="695" y="111"/>
                    <a:pt x="695" y="111"/>
                    <a:pt x="695" y="111"/>
                  </a:cubicBezTo>
                  <a:cubicBezTo>
                    <a:pt x="696" y="112"/>
                    <a:pt x="695" y="114"/>
                    <a:pt x="693" y="114"/>
                  </a:cubicBezTo>
                  <a:cubicBezTo>
                    <a:pt x="683" y="114"/>
                    <a:pt x="683" y="114"/>
                    <a:pt x="683" y="114"/>
                  </a:cubicBezTo>
                  <a:cubicBezTo>
                    <a:pt x="682" y="114"/>
                    <a:pt x="681" y="114"/>
                    <a:pt x="681" y="113"/>
                  </a:cubicBezTo>
                  <a:cubicBezTo>
                    <a:pt x="664" y="79"/>
                    <a:pt x="664" y="79"/>
                    <a:pt x="664" y="79"/>
                  </a:cubicBezTo>
                  <a:cubicBezTo>
                    <a:pt x="645" y="79"/>
                    <a:pt x="645" y="79"/>
                    <a:pt x="645" y="79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45" y="113"/>
                    <a:pt x="644" y="114"/>
                    <a:pt x="642" y="114"/>
                  </a:cubicBezTo>
                  <a:cubicBezTo>
                    <a:pt x="634" y="114"/>
                    <a:pt x="634" y="114"/>
                    <a:pt x="634" y="114"/>
                  </a:cubicBezTo>
                  <a:cubicBezTo>
                    <a:pt x="633" y="114"/>
                    <a:pt x="632" y="113"/>
                    <a:pt x="632" y="112"/>
                  </a:cubicBezTo>
                  <a:lnTo>
                    <a:pt x="632" y="27"/>
                  </a:lnTo>
                  <a:close/>
                  <a:moveTo>
                    <a:pt x="668" y="68"/>
                  </a:moveTo>
                  <a:cubicBezTo>
                    <a:pt x="676" y="68"/>
                    <a:pt x="683" y="61"/>
                    <a:pt x="683" y="52"/>
                  </a:cubicBezTo>
                  <a:cubicBezTo>
                    <a:pt x="683" y="44"/>
                    <a:pt x="676" y="37"/>
                    <a:pt x="668" y="37"/>
                  </a:cubicBezTo>
                  <a:cubicBezTo>
                    <a:pt x="645" y="37"/>
                    <a:pt x="645" y="37"/>
                    <a:pt x="645" y="37"/>
                  </a:cubicBezTo>
                  <a:cubicBezTo>
                    <a:pt x="645" y="68"/>
                    <a:pt x="645" y="68"/>
                    <a:pt x="645" y="68"/>
                  </a:cubicBezTo>
                  <a:lnTo>
                    <a:pt x="668" y="68"/>
                  </a:lnTo>
                  <a:close/>
                  <a:moveTo>
                    <a:pt x="783" y="27"/>
                  </a:moveTo>
                  <a:cubicBezTo>
                    <a:pt x="783" y="26"/>
                    <a:pt x="784" y="25"/>
                    <a:pt x="785" y="25"/>
                  </a:cubicBezTo>
                  <a:cubicBezTo>
                    <a:pt x="836" y="25"/>
                    <a:pt x="836" y="25"/>
                    <a:pt x="836" y="25"/>
                  </a:cubicBezTo>
                  <a:cubicBezTo>
                    <a:pt x="837" y="25"/>
                    <a:pt x="838" y="26"/>
                    <a:pt x="838" y="27"/>
                  </a:cubicBezTo>
                  <a:cubicBezTo>
                    <a:pt x="838" y="35"/>
                    <a:pt x="838" y="35"/>
                    <a:pt x="838" y="35"/>
                  </a:cubicBezTo>
                  <a:cubicBezTo>
                    <a:pt x="838" y="36"/>
                    <a:pt x="837" y="37"/>
                    <a:pt x="836" y="37"/>
                  </a:cubicBezTo>
                  <a:cubicBezTo>
                    <a:pt x="796" y="37"/>
                    <a:pt x="796" y="37"/>
                    <a:pt x="796" y="37"/>
                  </a:cubicBezTo>
                  <a:cubicBezTo>
                    <a:pt x="796" y="66"/>
                    <a:pt x="796" y="66"/>
                    <a:pt x="796" y="66"/>
                  </a:cubicBezTo>
                  <a:cubicBezTo>
                    <a:pt x="830" y="66"/>
                    <a:pt x="830" y="66"/>
                    <a:pt x="830" y="66"/>
                  </a:cubicBezTo>
                  <a:cubicBezTo>
                    <a:pt x="831" y="66"/>
                    <a:pt x="832" y="68"/>
                    <a:pt x="832" y="69"/>
                  </a:cubicBezTo>
                  <a:cubicBezTo>
                    <a:pt x="832" y="76"/>
                    <a:pt x="832" y="76"/>
                    <a:pt x="832" y="76"/>
                  </a:cubicBezTo>
                  <a:cubicBezTo>
                    <a:pt x="832" y="77"/>
                    <a:pt x="831" y="78"/>
                    <a:pt x="830" y="78"/>
                  </a:cubicBezTo>
                  <a:cubicBezTo>
                    <a:pt x="796" y="78"/>
                    <a:pt x="796" y="78"/>
                    <a:pt x="796" y="78"/>
                  </a:cubicBezTo>
                  <a:cubicBezTo>
                    <a:pt x="796" y="112"/>
                    <a:pt x="796" y="112"/>
                    <a:pt x="796" y="112"/>
                  </a:cubicBezTo>
                  <a:cubicBezTo>
                    <a:pt x="796" y="113"/>
                    <a:pt x="795" y="114"/>
                    <a:pt x="793" y="114"/>
                  </a:cubicBezTo>
                  <a:cubicBezTo>
                    <a:pt x="785" y="114"/>
                    <a:pt x="785" y="114"/>
                    <a:pt x="785" y="114"/>
                  </a:cubicBezTo>
                  <a:cubicBezTo>
                    <a:pt x="784" y="114"/>
                    <a:pt x="783" y="113"/>
                    <a:pt x="783" y="112"/>
                  </a:cubicBezTo>
                  <a:lnTo>
                    <a:pt x="783" y="27"/>
                  </a:lnTo>
                  <a:close/>
                  <a:moveTo>
                    <a:pt x="873" y="27"/>
                  </a:moveTo>
                  <a:cubicBezTo>
                    <a:pt x="873" y="26"/>
                    <a:pt x="874" y="25"/>
                    <a:pt x="875" y="25"/>
                  </a:cubicBezTo>
                  <a:cubicBezTo>
                    <a:pt x="884" y="25"/>
                    <a:pt x="884" y="25"/>
                    <a:pt x="884" y="25"/>
                  </a:cubicBezTo>
                  <a:cubicBezTo>
                    <a:pt x="885" y="25"/>
                    <a:pt x="886" y="26"/>
                    <a:pt x="886" y="27"/>
                  </a:cubicBezTo>
                  <a:cubicBezTo>
                    <a:pt x="886" y="80"/>
                    <a:pt x="886" y="80"/>
                    <a:pt x="886" y="80"/>
                  </a:cubicBezTo>
                  <a:cubicBezTo>
                    <a:pt x="886" y="93"/>
                    <a:pt x="894" y="103"/>
                    <a:pt x="907" y="103"/>
                  </a:cubicBezTo>
                  <a:cubicBezTo>
                    <a:pt x="920" y="103"/>
                    <a:pt x="929" y="93"/>
                    <a:pt x="929" y="80"/>
                  </a:cubicBezTo>
                  <a:cubicBezTo>
                    <a:pt x="929" y="27"/>
                    <a:pt x="929" y="27"/>
                    <a:pt x="929" y="27"/>
                  </a:cubicBezTo>
                  <a:cubicBezTo>
                    <a:pt x="929" y="26"/>
                    <a:pt x="930" y="25"/>
                    <a:pt x="931" y="25"/>
                  </a:cubicBezTo>
                  <a:cubicBezTo>
                    <a:pt x="940" y="25"/>
                    <a:pt x="940" y="25"/>
                    <a:pt x="940" y="25"/>
                  </a:cubicBezTo>
                  <a:cubicBezTo>
                    <a:pt x="941" y="25"/>
                    <a:pt x="942" y="26"/>
                    <a:pt x="942" y="27"/>
                  </a:cubicBezTo>
                  <a:cubicBezTo>
                    <a:pt x="942" y="81"/>
                    <a:pt x="942" y="81"/>
                    <a:pt x="942" y="81"/>
                  </a:cubicBezTo>
                  <a:cubicBezTo>
                    <a:pt x="942" y="100"/>
                    <a:pt x="927" y="115"/>
                    <a:pt x="907" y="115"/>
                  </a:cubicBezTo>
                  <a:cubicBezTo>
                    <a:pt x="887" y="115"/>
                    <a:pt x="873" y="100"/>
                    <a:pt x="873" y="81"/>
                  </a:cubicBezTo>
                  <a:lnTo>
                    <a:pt x="873" y="27"/>
                  </a:lnTo>
                  <a:close/>
                  <a:moveTo>
                    <a:pt x="886" y="7"/>
                  </a:moveTo>
                  <a:cubicBezTo>
                    <a:pt x="886" y="3"/>
                    <a:pt x="889" y="0"/>
                    <a:pt x="893" y="0"/>
                  </a:cubicBezTo>
                  <a:cubicBezTo>
                    <a:pt x="897" y="0"/>
                    <a:pt x="900" y="3"/>
                    <a:pt x="900" y="7"/>
                  </a:cubicBezTo>
                  <a:cubicBezTo>
                    <a:pt x="900" y="11"/>
                    <a:pt x="897" y="15"/>
                    <a:pt x="893" y="15"/>
                  </a:cubicBezTo>
                  <a:cubicBezTo>
                    <a:pt x="889" y="15"/>
                    <a:pt x="886" y="11"/>
                    <a:pt x="886" y="7"/>
                  </a:cubicBezTo>
                  <a:close/>
                  <a:moveTo>
                    <a:pt x="915" y="7"/>
                  </a:moveTo>
                  <a:cubicBezTo>
                    <a:pt x="915" y="3"/>
                    <a:pt x="918" y="0"/>
                    <a:pt x="922" y="0"/>
                  </a:cubicBezTo>
                  <a:cubicBezTo>
                    <a:pt x="926" y="0"/>
                    <a:pt x="930" y="3"/>
                    <a:pt x="930" y="7"/>
                  </a:cubicBezTo>
                  <a:cubicBezTo>
                    <a:pt x="930" y="11"/>
                    <a:pt x="926" y="15"/>
                    <a:pt x="922" y="15"/>
                  </a:cubicBezTo>
                  <a:cubicBezTo>
                    <a:pt x="918" y="15"/>
                    <a:pt x="915" y="11"/>
                    <a:pt x="915" y="7"/>
                  </a:cubicBezTo>
                  <a:close/>
                  <a:moveTo>
                    <a:pt x="985" y="27"/>
                  </a:moveTo>
                  <a:cubicBezTo>
                    <a:pt x="985" y="26"/>
                    <a:pt x="986" y="25"/>
                    <a:pt x="987" y="25"/>
                  </a:cubicBezTo>
                  <a:cubicBezTo>
                    <a:pt x="1022" y="25"/>
                    <a:pt x="1022" y="25"/>
                    <a:pt x="1022" y="25"/>
                  </a:cubicBezTo>
                  <a:cubicBezTo>
                    <a:pt x="1037" y="25"/>
                    <a:pt x="1050" y="37"/>
                    <a:pt x="1050" y="52"/>
                  </a:cubicBezTo>
                  <a:cubicBezTo>
                    <a:pt x="1050" y="64"/>
                    <a:pt x="1042" y="74"/>
                    <a:pt x="1031" y="78"/>
                  </a:cubicBezTo>
                  <a:cubicBezTo>
                    <a:pt x="1048" y="111"/>
                    <a:pt x="1048" y="111"/>
                    <a:pt x="1048" y="111"/>
                  </a:cubicBezTo>
                  <a:cubicBezTo>
                    <a:pt x="1049" y="112"/>
                    <a:pt x="1048" y="114"/>
                    <a:pt x="104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5" y="114"/>
                    <a:pt x="1034" y="114"/>
                    <a:pt x="1034" y="113"/>
                  </a:cubicBezTo>
                  <a:cubicBezTo>
                    <a:pt x="1017" y="79"/>
                    <a:pt x="1017" y="79"/>
                    <a:pt x="1017" y="79"/>
                  </a:cubicBezTo>
                  <a:cubicBezTo>
                    <a:pt x="998" y="79"/>
                    <a:pt x="998" y="79"/>
                    <a:pt x="998" y="79"/>
                  </a:cubicBezTo>
                  <a:cubicBezTo>
                    <a:pt x="998" y="112"/>
                    <a:pt x="998" y="112"/>
                    <a:pt x="998" y="112"/>
                  </a:cubicBezTo>
                  <a:cubicBezTo>
                    <a:pt x="998" y="113"/>
                    <a:pt x="997" y="114"/>
                    <a:pt x="996" y="114"/>
                  </a:cubicBezTo>
                  <a:cubicBezTo>
                    <a:pt x="987" y="114"/>
                    <a:pt x="987" y="114"/>
                    <a:pt x="987" y="114"/>
                  </a:cubicBezTo>
                  <a:cubicBezTo>
                    <a:pt x="986" y="114"/>
                    <a:pt x="985" y="113"/>
                    <a:pt x="985" y="112"/>
                  </a:cubicBezTo>
                  <a:lnTo>
                    <a:pt x="985" y="27"/>
                  </a:lnTo>
                  <a:close/>
                  <a:moveTo>
                    <a:pt x="1021" y="68"/>
                  </a:moveTo>
                  <a:cubicBezTo>
                    <a:pt x="1029" y="68"/>
                    <a:pt x="1036" y="61"/>
                    <a:pt x="1036" y="52"/>
                  </a:cubicBezTo>
                  <a:cubicBezTo>
                    <a:pt x="1036" y="44"/>
                    <a:pt x="1029" y="37"/>
                    <a:pt x="1021" y="37"/>
                  </a:cubicBezTo>
                  <a:cubicBezTo>
                    <a:pt x="998" y="37"/>
                    <a:pt x="998" y="37"/>
                    <a:pt x="998" y="37"/>
                  </a:cubicBezTo>
                  <a:cubicBezTo>
                    <a:pt x="998" y="68"/>
                    <a:pt x="998" y="68"/>
                    <a:pt x="998" y="68"/>
                  </a:cubicBezTo>
                  <a:lnTo>
                    <a:pt x="1021" y="68"/>
                  </a:lnTo>
                  <a:close/>
                  <a:moveTo>
                    <a:pt x="1136" y="27"/>
                  </a:moveTo>
                  <a:cubicBezTo>
                    <a:pt x="1136" y="26"/>
                    <a:pt x="1137" y="25"/>
                    <a:pt x="1138" y="25"/>
                  </a:cubicBezTo>
                  <a:cubicBezTo>
                    <a:pt x="1189" y="25"/>
                    <a:pt x="1189" y="25"/>
                    <a:pt x="1189" y="25"/>
                  </a:cubicBezTo>
                  <a:cubicBezTo>
                    <a:pt x="1191" y="25"/>
                    <a:pt x="1192" y="26"/>
                    <a:pt x="1192" y="27"/>
                  </a:cubicBezTo>
                  <a:cubicBezTo>
                    <a:pt x="1192" y="35"/>
                    <a:pt x="1192" y="35"/>
                    <a:pt x="1192" y="35"/>
                  </a:cubicBezTo>
                  <a:cubicBezTo>
                    <a:pt x="1192" y="36"/>
                    <a:pt x="1191" y="37"/>
                    <a:pt x="1189" y="37"/>
                  </a:cubicBezTo>
                  <a:cubicBezTo>
                    <a:pt x="1149" y="37"/>
                    <a:pt x="1149" y="37"/>
                    <a:pt x="1149" y="37"/>
                  </a:cubicBezTo>
                  <a:cubicBezTo>
                    <a:pt x="1149" y="66"/>
                    <a:pt x="1149" y="66"/>
                    <a:pt x="1149" y="66"/>
                  </a:cubicBezTo>
                  <a:cubicBezTo>
                    <a:pt x="1183" y="66"/>
                    <a:pt x="1183" y="66"/>
                    <a:pt x="1183" y="66"/>
                  </a:cubicBezTo>
                  <a:cubicBezTo>
                    <a:pt x="1184" y="66"/>
                    <a:pt x="1185" y="68"/>
                    <a:pt x="1185" y="69"/>
                  </a:cubicBezTo>
                  <a:cubicBezTo>
                    <a:pt x="1185" y="76"/>
                    <a:pt x="1185" y="76"/>
                    <a:pt x="1185" y="76"/>
                  </a:cubicBezTo>
                  <a:cubicBezTo>
                    <a:pt x="1185" y="77"/>
                    <a:pt x="1184" y="78"/>
                    <a:pt x="1183" y="78"/>
                  </a:cubicBezTo>
                  <a:cubicBezTo>
                    <a:pt x="1149" y="78"/>
                    <a:pt x="1149" y="78"/>
                    <a:pt x="1149" y="78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49" y="113"/>
                    <a:pt x="1148" y="114"/>
                    <a:pt x="1147" y="114"/>
                  </a:cubicBezTo>
                  <a:cubicBezTo>
                    <a:pt x="1138" y="114"/>
                    <a:pt x="1138" y="114"/>
                    <a:pt x="1138" y="114"/>
                  </a:cubicBezTo>
                  <a:cubicBezTo>
                    <a:pt x="1137" y="114"/>
                    <a:pt x="1136" y="113"/>
                    <a:pt x="1136" y="112"/>
                  </a:cubicBezTo>
                  <a:lnTo>
                    <a:pt x="1136" y="27"/>
                  </a:lnTo>
                  <a:close/>
                  <a:moveTo>
                    <a:pt x="1266" y="24"/>
                  </a:moveTo>
                  <a:cubicBezTo>
                    <a:pt x="1292" y="24"/>
                    <a:pt x="1312" y="44"/>
                    <a:pt x="1312" y="70"/>
                  </a:cubicBezTo>
                  <a:cubicBezTo>
                    <a:pt x="1312" y="95"/>
                    <a:pt x="1292" y="115"/>
                    <a:pt x="1266" y="115"/>
                  </a:cubicBezTo>
                  <a:cubicBezTo>
                    <a:pt x="1241" y="115"/>
                    <a:pt x="1221" y="95"/>
                    <a:pt x="1221" y="70"/>
                  </a:cubicBezTo>
                  <a:cubicBezTo>
                    <a:pt x="1221" y="44"/>
                    <a:pt x="1241" y="24"/>
                    <a:pt x="1266" y="24"/>
                  </a:cubicBezTo>
                  <a:close/>
                  <a:moveTo>
                    <a:pt x="1266" y="103"/>
                  </a:moveTo>
                  <a:cubicBezTo>
                    <a:pt x="1285" y="103"/>
                    <a:pt x="1300" y="88"/>
                    <a:pt x="1300" y="70"/>
                  </a:cubicBezTo>
                  <a:cubicBezTo>
                    <a:pt x="1300" y="52"/>
                    <a:pt x="1285" y="36"/>
                    <a:pt x="1266" y="36"/>
                  </a:cubicBezTo>
                  <a:cubicBezTo>
                    <a:pt x="1248" y="36"/>
                    <a:pt x="1233" y="52"/>
                    <a:pt x="1233" y="70"/>
                  </a:cubicBezTo>
                  <a:cubicBezTo>
                    <a:pt x="1233" y="88"/>
                    <a:pt x="1248" y="103"/>
                    <a:pt x="1266" y="103"/>
                  </a:cubicBezTo>
                  <a:close/>
                  <a:moveTo>
                    <a:pt x="1350" y="27"/>
                  </a:moveTo>
                  <a:cubicBezTo>
                    <a:pt x="1350" y="26"/>
                    <a:pt x="1351" y="25"/>
                    <a:pt x="1352" y="25"/>
                  </a:cubicBezTo>
                  <a:cubicBezTo>
                    <a:pt x="1387" y="25"/>
                    <a:pt x="1387" y="25"/>
                    <a:pt x="1387" y="25"/>
                  </a:cubicBezTo>
                  <a:cubicBezTo>
                    <a:pt x="1402" y="25"/>
                    <a:pt x="1415" y="37"/>
                    <a:pt x="1415" y="52"/>
                  </a:cubicBezTo>
                  <a:cubicBezTo>
                    <a:pt x="1415" y="64"/>
                    <a:pt x="1407" y="74"/>
                    <a:pt x="1396" y="78"/>
                  </a:cubicBezTo>
                  <a:cubicBezTo>
                    <a:pt x="1413" y="111"/>
                    <a:pt x="1413" y="111"/>
                    <a:pt x="1413" y="111"/>
                  </a:cubicBezTo>
                  <a:cubicBezTo>
                    <a:pt x="1414" y="112"/>
                    <a:pt x="1413" y="114"/>
                    <a:pt x="1411" y="114"/>
                  </a:cubicBezTo>
                  <a:cubicBezTo>
                    <a:pt x="1401" y="114"/>
                    <a:pt x="1401" y="114"/>
                    <a:pt x="1401" y="114"/>
                  </a:cubicBezTo>
                  <a:cubicBezTo>
                    <a:pt x="1400" y="114"/>
                    <a:pt x="1399" y="114"/>
                    <a:pt x="1399" y="113"/>
                  </a:cubicBezTo>
                  <a:cubicBezTo>
                    <a:pt x="1382" y="79"/>
                    <a:pt x="1382" y="79"/>
                    <a:pt x="1382" y="79"/>
                  </a:cubicBezTo>
                  <a:cubicBezTo>
                    <a:pt x="1363" y="79"/>
                    <a:pt x="1363" y="79"/>
                    <a:pt x="1363" y="79"/>
                  </a:cubicBezTo>
                  <a:cubicBezTo>
                    <a:pt x="1363" y="112"/>
                    <a:pt x="1363" y="112"/>
                    <a:pt x="1363" y="112"/>
                  </a:cubicBezTo>
                  <a:cubicBezTo>
                    <a:pt x="1363" y="113"/>
                    <a:pt x="1362" y="114"/>
                    <a:pt x="1360" y="114"/>
                  </a:cubicBezTo>
                  <a:cubicBezTo>
                    <a:pt x="1352" y="114"/>
                    <a:pt x="1352" y="114"/>
                    <a:pt x="1352" y="114"/>
                  </a:cubicBezTo>
                  <a:cubicBezTo>
                    <a:pt x="1351" y="114"/>
                    <a:pt x="1350" y="113"/>
                    <a:pt x="1350" y="112"/>
                  </a:cubicBezTo>
                  <a:lnTo>
                    <a:pt x="1350" y="27"/>
                  </a:lnTo>
                  <a:close/>
                  <a:moveTo>
                    <a:pt x="1386" y="68"/>
                  </a:moveTo>
                  <a:cubicBezTo>
                    <a:pt x="1394" y="68"/>
                    <a:pt x="1401" y="61"/>
                    <a:pt x="1401" y="52"/>
                  </a:cubicBezTo>
                  <a:cubicBezTo>
                    <a:pt x="1401" y="44"/>
                    <a:pt x="1394" y="37"/>
                    <a:pt x="1386" y="37"/>
                  </a:cubicBezTo>
                  <a:cubicBezTo>
                    <a:pt x="1363" y="37"/>
                    <a:pt x="1363" y="37"/>
                    <a:pt x="1363" y="37"/>
                  </a:cubicBezTo>
                  <a:cubicBezTo>
                    <a:pt x="1363" y="68"/>
                    <a:pt x="1363" y="68"/>
                    <a:pt x="1363" y="68"/>
                  </a:cubicBezTo>
                  <a:lnTo>
                    <a:pt x="1386" y="68"/>
                  </a:lnTo>
                  <a:close/>
                  <a:moveTo>
                    <a:pt x="1448" y="101"/>
                  </a:moveTo>
                  <a:cubicBezTo>
                    <a:pt x="1449" y="100"/>
                    <a:pt x="1450" y="98"/>
                    <a:pt x="1451" y="96"/>
                  </a:cubicBezTo>
                  <a:cubicBezTo>
                    <a:pt x="1452" y="94"/>
                    <a:pt x="1454" y="94"/>
                    <a:pt x="1455" y="95"/>
                  </a:cubicBezTo>
                  <a:cubicBezTo>
                    <a:pt x="1456" y="96"/>
                    <a:pt x="1466" y="104"/>
                    <a:pt x="1476" y="104"/>
                  </a:cubicBezTo>
                  <a:cubicBezTo>
                    <a:pt x="1485" y="104"/>
                    <a:pt x="1490" y="99"/>
                    <a:pt x="1490" y="92"/>
                  </a:cubicBezTo>
                  <a:cubicBezTo>
                    <a:pt x="1490" y="84"/>
                    <a:pt x="1484" y="80"/>
                    <a:pt x="1471" y="74"/>
                  </a:cubicBezTo>
                  <a:cubicBezTo>
                    <a:pt x="1458" y="69"/>
                    <a:pt x="1448" y="62"/>
                    <a:pt x="1448" y="47"/>
                  </a:cubicBezTo>
                  <a:cubicBezTo>
                    <a:pt x="1448" y="37"/>
                    <a:pt x="1455" y="24"/>
                    <a:pt x="1476" y="24"/>
                  </a:cubicBezTo>
                  <a:cubicBezTo>
                    <a:pt x="1488" y="24"/>
                    <a:pt x="1498" y="30"/>
                    <a:pt x="1499" y="31"/>
                  </a:cubicBezTo>
                  <a:cubicBezTo>
                    <a:pt x="1500" y="32"/>
                    <a:pt x="1501" y="34"/>
                    <a:pt x="1500" y="36"/>
                  </a:cubicBezTo>
                  <a:cubicBezTo>
                    <a:pt x="1499" y="37"/>
                    <a:pt x="1498" y="39"/>
                    <a:pt x="1497" y="40"/>
                  </a:cubicBezTo>
                  <a:cubicBezTo>
                    <a:pt x="1496" y="42"/>
                    <a:pt x="1494" y="43"/>
                    <a:pt x="1492" y="42"/>
                  </a:cubicBezTo>
                  <a:cubicBezTo>
                    <a:pt x="1492" y="41"/>
                    <a:pt x="1483" y="35"/>
                    <a:pt x="1475" y="35"/>
                  </a:cubicBezTo>
                  <a:cubicBezTo>
                    <a:pt x="1465" y="35"/>
                    <a:pt x="1461" y="42"/>
                    <a:pt x="1461" y="47"/>
                  </a:cubicBezTo>
                  <a:cubicBezTo>
                    <a:pt x="1461" y="54"/>
                    <a:pt x="1466" y="58"/>
                    <a:pt x="1477" y="63"/>
                  </a:cubicBezTo>
                  <a:cubicBezTo>
                    <a:pt x="1492" y="69"/>
                    <a:pt x="1504" y="76"/>
                    <a:pt x="1504" y="91"/>
                  </a:cubicBezTo>
                  <a:cubicBezTo>
                    <a:pt x="1504" y="105"/>
                    <a:pt x="1493" y="115"/>
                    <a:pt x="1476" y="115"/>
                  </a:cubicBezTo>
                  <a:cubicBezTo>
                    <a:pt x="1460" y="115"/>
                    <a:pt x="1451" y="107"/>
                    <a:pt x="1449" y="105"/>
                  </a:cubicBezTo>
                  <a:cubicBezTo>
                    <a:pt x="1447" y="104"/>
                    <a:pt x="1447" y="103"/>
                    <a:pt x="1448" y="101"/>
                  </a:cubicBezTo>
                  <a:close/>
                  <a:moveTo>
                    <a:pt x="1581" y="24"/>
                  </a:moveTo>
                  <a:cubicBezTo>
                    <a:pt x="1594" y="24"/>
                    <a:pt x="1603" y="28"/>
                    <a:pt x="1611" y="36"/>
                  </a:cubicBezTo>
                  <a:cubicBezTo>
                    <a:pt x="1613" y="37"/>
                    <a:pt x="1613" y="38"/>
                    <a:pt x="1612" y="39"/>
                  </a:cubicBezTo>
                  <a:cubicBezTo>
                    <a:pt x="1606" y="45"/>
                    <a:pt x="1606" y="45"/>
                    <a:pt x="1606" y="45"/>
                  </a:cubicBezTo>
                  <a:cubicBezTo>
                    <a:pt x="1605" y="46"/>
                    <a:pt x="1604" y="46"/>
                    <a:pt x="1603" y="45"/>
                  </a:cubicBezTo>
                  <a:cubicBezTo>
                    <a:pt x="1597" y="40"/>
                    <a:pt x="1589" y="36"/>
                    <a:pt x="1581" y="36"/>
                  </a:cubicBezTo>
                  <a:cubicBezTo>
                    <a:pt x="1563" y="36"/>
                    <a:pt x="1549" y="52"/>
                    <a:pt x="1549" y="69"/>
                  </a:cubicBezTo>
                  <a:cubicBezTo>
                    <a:pt x="1549" y="87"/>
                    <a:pt x="1563" y="102"/>
                    <a:pt x="1581" y="102"/>
                  </a:cubicBezTo>
                  <a:cubicBezTo>
                    <a:pt x="1590" y="102"/>
                    <a:pt x="1597" y="99"/>
                    <a:pt x="1603" y="94"/>
                  </a:cubicBezTo>
                  <a:cubicBezTo>
                    <a:pt x="1604" y="93"/>
                    <a:pt x="1605" y="93"/>
                    <a:pt x="1606" y="94"/>
                  </a:cubicBezTo>
                  <a:cubicBezTo>
                    <a:pt x="1612" y="100"/>
                    <a:pt x="1612" y="100"/>
                    <a:pt x="1612" y="100"/>
                  </a:cubicBezTo>
                  <a:cubicBezTo>
                    <a:pt x="1613" y="101"/>
                    <a:pt x="1613" y="102"/>
                    <a:pt x="1612" y="103"/>
                  </a:cubicBezTo>
                  <a:cubicBezTo>
                    <a:pt x="1603" y="112"/>
                    <a:pt x="1592" y="115"/>
                    <a:pt x="1581" y="115"/>
                  </a:cubicBezTo>
                  <a:cubicBezTo>
                    <a:pt x="1555" y="115"/>
                    <a:pt x="1535" y="95"/>
                    <a:pt x="1535" y="70"/>
                  </a:cubicBezTo>
                  <a:cubicBezTo>
                    <a:pt x="1535" y="44"/>
                    <a:pt x="1555" y="24"/>
                    <a:pt x="1581" y="24"/>
                  </a:cubicBezTo>
                  <a:close/>
                  <a:moveTo>
                    <a:pt x="1649" y="27"/>
                  </a:moveTo>
                  <a:cubicBezTo>
                    <a:pt x="1649" y="26"/>
                    <a:pt x="1650" y="25"/>
                    <a:pt x="1651" y="25"/>
                  </a:cubicBezTo>
                  <a:cubicBezTo>
                    <a:pt x="1660" y="25"/>
                    <a:pt x="1660" y="25"/>
                    <a:pt x="1660" y="25"/>
                  </a:cubicBezTo>
                  <a:cubicBezTo>
                    <a:pt x="1661" y="25"/>
                    <a:pt x="1662" y="26"/>
                    <a:pt x="1662" y="27"/>
                  </a:cubicBezTo>
                  <a:cubicBezTo>
                    <a:pt x="1662" y="63"/>
                    <a:pt x="1662" y="63"/>
                    <a:pt x="1662" y="63"/>
                  </a:cubicBezTo>
                  <a:cubicBezTo>
                    <a:pt x="1709" y="63"/>
                    <a:pt x="1709" y="63"/>
                    <a:pt x="1709" y="63"/>
                  </a:cubicBezTo>
                  <a:cubicBezTo>
                    <a:pt x="1709" y="27"/>
                    <a:pt x="1709" y="27"/>
                    <a:pt x="1709" y="27"/>
                  </a:cubicBezTo>
                  <a:cubicBezTo>
                    <a:pt x="1709" y="26"/>
                    <a:pt x="1710" y="25"/>
                    <a:pt x="1711" y="25"/>
                  </a:cubicBezTo>
                  <a:cubicBezTo>
                    <a:pt x="1720" y="25"/>
                    <a:pt x="1720" y="25"/>
                    <a:pt x="1720" y="25"/>
                  </a:cubicBezTo>
                  <a:cubicBezTo>
                    <a:pt x="1721" y="25"/>
                    <a:pt x="1722" y="26"/>
                    <a:pt x="1722" y="27"/>
                  </a:cubicBezTo>
                  <a:cubicBezTo>
                    <a:pt x="1722" y="112"/>
                    <a:pt x="1722" y="112"/>
                    <a:pt x="1722" y="112"/>
                  </a:cubicBezTo>
                  <a:cubicBezTo>
                    <a:pt x="1722" y="113"/>
                    <a:pt x="1721" y="114"/>
                    <a:pt x="1720" y="114"/>
                  </a:cubicBezTo>
                  <a:cubicBezTo>
                    <a:pt x="1711" y="114"/>
                    <a:pt x="1711" y="114"/>
                    <a:pt x="1711" y="114"/>
                  </a:cubicBezTo>
                  <a:cubicBezTo>
                    <a:pt x="1710" y="114"/>
                    <a:pt x="1709" y="113"/>
                    <a:pt x="1709" y="112"/>
                  </a:cubicBezTo>
                  <a:cubicBezTo>
                    <a:pt x="1709" y="75"/>
                    <a:pt x="1709" y="75"/>
                    <a:pt x="1709" y="75"/>
                  </a:cubicBezTo>
                  <a:cubicBezTo>
                    <a:pt x="1662" y="75"/>
                    <a:pt x="1662" y="75"/>
                    <a:pt x="1662" y="75"/>
                  </a:cubicBezTo>
                  <a:cubicBezTo>
                    <a:pt x="1662" y="112"/>
                    <a:pt x="1662" y="112"/>
                    <a:pt x="1662" y="112"/>
                  </a:cubicBezTo>
                  <a:cubicBezTo>
                    <a:pt x="1662" y="113"/>
                    <a:pt x="1661" y="114"/>
                    <a:pt x="1660" y="114"/>
                  </a:cubicBezTo>
                  <a:cubicBezTo>
                    <a:pt x="1651" y="114"/>
                    <a:pt x="1651" y="114"/>
                    <a:pt x="1651" y="114"/>
                  </a:cubicBezTo>
                  <a:cubicBezTo>
                    <a:pt x="1650" y="114"/>
                    <a:pt x="1649" y="113"/>
                    <a:pt x="1649" y="112"/>
                  </a:cubicBezTo>
                  <a:lnTo>
                    <a:pt x="1649" y="27"/>
                  </a:lnTo>
                  <a:close/>
                  <a:moveTo>
                    <a:pt x="1765" y="27"/>
                  </a:moveTo>
                  <a:cubicBezTo>
                    <a:pt x="1765" y="26"/>
                    <a:pt x="1766" y="25"/>
                    <a:pt x="1767" y="25"/>
                  </a:cubicBezTo>
                  <a:cubicBezTo>
                    <a:pt x="1776" y="25"/>
                    <a:pt x="1776" y="25"/>
                    <a:pt x="1776" y="25"/>
                  </a:cubicBezTo>
                  <a:cubicBezTo>
                    <a:pt x="1777" y="25"/>
                    <a:pt x="1778" y="26"/>
                    <a:pt x="1778" y="27"/>
                  </a:cubicBezTo>
                  <a:cubicBezTo>
                    <a:pt x="1778" y="80"/>
                    <a:pt x="1778" y="80"/>
                    <a:pt x="1778" y="80"/>
                  </a:cubicBezTo>
                  <a:cubicBezTo>
                    <a:pt x="1778" y="93"/>
                    <a:pt x="1786" y="103"/>
                    <a:pt x="1799" y="103"/>
                  </a:cubicBezTo>
                  <a:cubicBezTo>
                    <a:pt x="1813" y="103"/>
                    <a:pt x="1821" y="93"/>
                    <a:pt x="1821" y="80"/>
                  </a:cubicBezTo>
                  <a:cubicBezTo>
                    <a:pt x="1821" y="27"/>
                    <a:pt x="1821" y="27"/>
                    <a:pt x="1821" y="27"/>
                  </a:cubicBezTo>
                  <a:cubicBezTo>
                    <a:pt x="1821" y="26"/>
                    <a:pt x="1822" y="25"/>
                    <a:pt x="1823" y="25"/>
                  </a:cubicBezTo>
                  <a:cubicBezTo>
                    <a:pt x="1832" y="25"/>
                    <a:pt x="1832" y="25"/>
                    <a:pt x="1832" y="25"/>
                  </a:cubicBezTo>
                  <a:cubicBezTo>
                    <a:pt x="1833" y="25"/>
                    <a:pt x="1834" y="26"/>
                    <a:pt x="1834" y="27"/>
                  </a:cubicBezTo>
                  <a:cubicBezTo>
                    <a:pt x="1834" y="81"/>
                    <a:pt x="1834" y="81"/>
                    <a:pt x="1834" y="81"/>
                  </a:cubicBezTo>
                  <a:cubicBezTo>
                    <a:pt x="1834" y="100"/>
                    <a:pt x="1820" y="115"/>
                    <a:pt x="1799" y="115"/>
                  </a:cubicBezTo>
                  <a:cubicBezTo>
                    <a:pt x="1779" y="115"/>
                    <a:pt x="1765" y="100"/>
                    <a:pt x="1765" y="81"/>
                  </a:cubicBezTo>
                  <a:lnTo>
                    <a:pt x="1765" y="27"/>
                  </a:lnTo>
                  <a:close/>
                  <a:moveTo>
                    <a:pt x="1877" y="26"/>
                  </a:moveTo>
                  <a:cubicBezTo>
                    <a:pt x="1877" y="25"/>
                    <a:pt x="1878" y="24"/>
                    <a:pt x="1879" y="24"/>
                  </a:cubicBezTo>
                  <a:cubicBezTo>
                    <a:pt x="1882" y="24"/>
                    <a:pt x="1882" y="24"/>
                    <a:pt x="1882" y="24"/>
                  </a:cubicBezTo>
                  <a:cubicBezTo>
                    <a:pt x="1938" y="88"/>
                    <a:pt x="1938" y="88"/>
                    <a:pt x="1938" y="88"/>
                  </a:cubicBezTo>
                  <a:cubicBezTo>
                    <a:pt x="1938" y="88"/>
                    <a:pt x="1938" y="88"/>
                    <a:pt x="1938" y="88"/>
                  </a:cubicBezTo>
                  <a:cubicBezTo>
                    <a:pt x="1938" y="27"/>
                    <a:pt x="1938" y="27"/>
                    <a:pt x="1938" y="27"/>
                  </a:cubicBezTo>
                  <a:cubicBezTo>
                    <a:pt x="1938" y="26"/>
                    <a:pt x="1939" y="25"/>
                    <a:pt x="1940" y="25"/>
                  </a:cubicBezTo>
                  <a:cubicBezTo>
                    <a:pt x="1949" y="25"/>
                    <a:pt x="1949" y="25"/>
                    <a:pt x="1949" y="25"/>
                  </a:cubicBezTo>
                  <a:cubicBezTo>
                    <a:pt x="1950" y="25"/>
                    <a:pt x="1951" y="26"/>
                    <a:pt x="1951" y="27"/>
                  </a:cubicBezTo>
                  <a:cubicBezTo>
                    <a:pt x="1951" y="113"/>
                    <a:pt x="1951" y="113"/>
                    <a:pt x="1951" y="113"/>
                  </a:cubicBezTo>
                  <a:cubicBezTo>
                    <a:pt x="1951" y="114"/>
                    <a:pt x="1950" y="115"/>
                    <a:pt x="1949" y="115"/>
                  </a:cubicBezTo>
                  <a:cubicBezTo>
                    <a:pt x="1945" y="115"/>
                    <a:pt x="1945" y="115"/>
                    <a:pt x="1945" y="115"/>
                  </a:cubicBezTo>
                  <a:cubicBezTo>
                    <a:pt x="1890" y="50"/>
                    <a:pt x="1890" y="50"/>
                    <a:pt x="1890" y="50"/>
                  </a:cubicBezTo>
                  <a:cubicBezTo>
                    <a:pt x="1890" y="50"/>
                    <a:pt x="1890" y="50"/>
                    <a:pt x="1890" y="50"/>
                  </a:cubicBezTo>
                  <a:cubicBezTo>
                    <a:pt x="1890" y="112"/>
                    <a:pt x="1890" y="112"/>
                    <a:pt x="1890" y="112"/>
                  </a:cubicBezTo>
                  <a:cubicBezTo>
                    <a:pt x="1890" y="113"/>
                    <a:pt x="1889" y="114"/>
                    <a:pt x="1887" y="114"/>
                  </a:cubicBezTo>
                  <a:cubicBezTo>
                    <a:pt x="1879" y="114"/>
                    <a:pt x="1879" y="114"/>
                    <a:pt x="1879" y="114"/>
                  </a:cubicBezTo>
                  <a:cubicBezTo>
                    <a:pt x="1878" y="114"/>
                    <a:pt x="1877" y="113"/>
                    <a:pt x="1877" y="112"/>
                  </a:cubicBezTo>
                  <a:lnTo>
                    <a:pt x="1877" y="26"/>
                  </a:lnTo>
                  <a:close/>
                  <a:moveTo>
                    <a:pt x="2034" y="24"/>
                  </a:moveTo>
                  <a:cubicBezTo>
                    <a:pt x="2046" y="24"/>
                    <a:pt x="2056" y="28"/>
                    <a:pt x="2065" y="36"/>
                  </a:cubicBezTo>
                  <a:cubicBezTo>
                    <a:pt x="2066" y="37"/>
                    <a:pt x="2066" y="38"/>
                    <a:pt x="2065" y="39"/>
                  </a:cubicBezTo>
                  <a:cubicBezTo>
                    <a:pt x="2063" y="41"/>
                    <a:pt x="2061" y="43"/>
                    <a:pt x="2059" y="45"/>
                  </a:cubicBezTo>
                  <a:cubicBezTo>
                    <a:pt x="2058" y="46"/>
                    <a:pt x="2057" y="46"/>
                    <a:pt x="2056" y="45"/>
                  </a:cubicBezTo>
                  <a:cubicBezTo>
                    <a:pt x="2050" y="40"/>
                    <a:pt x="2042" y="36"/>
                    <a:pt x="2034" y="36"/>
                  </a:cubicBezTo>
                  <a:cubicBezTo>
                    <a:pt x="2016" y="36"/>
                    <a:pt x="2002" y="52"/>
                    <a:pt x="2002" y="69"/>
                  </a:cubicBezTo>
                  <a:cubicBezTo>
                    <a:pt x="2002" y="87"/>
                    <a:pt x="2016" y="102"/>
                    <a:pt x="2034" y="102"/>
                  </a:cubicBezTo>
                  <a:cubicBezTo>
                    <a:pt x="2045" y="102"/>
                    <a:pt x="2052" y="99"/>
                    <a:pt x="2054" y="98"/>
                  </a:cubicBezTo>
                  <a:cubicBezTo>
                    <a:pt x="2054" y="84"/>
                    <a:pt x="2054" y="84"/>
                    <a:pt x="2054" y="84"/>
                  </a:cubicBezTo>
                  <a:cubicBezTo>
                    <a:pt x="2041" y="84"/>
                    <a:pt x="2041" y="84"/>
                    <a:pt x="2041" y="84"/>
                  </a:cubicBezTo>
                  <a:cubicBezTo>
                    <a:pt x="2040" y="84"/>
                    <a:pt x="2039" y="83"/>
                    <a:pt x="2039" y="82"/>
                  </a:cubicBezTo>
                  <a:cubicBezTo>
                    <a:pt x="2039" y="74"/>
                    <a:pt x="2039" y="74"/>
                    <a:pt x="2039" y="74"/>
                  </a:cubicBezTo>
                  <a:cubicBezTo>
                    <a:pt x="2039" y="73"/>
                    <a:pt x="2040" y="72"/>
                    <a:pt x="2041" y="72"/>
                  </a:cubicBezTo>
                  <a:cubicBezTo>
                    <a:pt x="2064" y="72"/>
                    <a:pt x="2064" y="72"/>
                    <a:pt x="2064" y="72"/>
                  </a:cubicBezTo>
                  <a:cubicBezTo>
                    <a:pt x="2066" y="72"/>
                    <a:pt x="2067" y="73"/>
                    <a:pt x="2067" y="74"/>
                  </a:cubicBezTo>
                  <a:cubicBezTo>
                    <a:pt x="2067" y="84"/>
                    <a:pt x="2067" y="95"/>
                    <a:pt x="2067" y="105"/>
                  </a:cubicBezTo>
                  <a:cubicBezTo>
                    <a:pt x="2067" y="106"/>
                    <a:pt x="2066" y="107"/>
                    <a:pt x="2066" y="107"/>
                  </a:cubicBezTo>
                  <a:cubicBezTo>
                    <a:pt x="2066" y="107"/>
                    <a:pt x="2053" y="115"/>
                    <a:pt x="2034" y="115"/>
                  </a:cubicBezTo>
                  <a:cubicBezTo>
                    <a:pt x="2009" y="115"/>
                    <a:pt x="1988" y="95"/>
                    <a:pt x="1988" y="70"/>
                  </a:cubicBezTo>
                  <a:cubicBezTo>
                    <a:pt x="1988" y="44"/>
                    <a:pt x="2009" y="24"/>
                    <a:pt x="2034" y="24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CB180C5B-F771-4EAD-A510-92474618D0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6881" y="462019"/>
              <a:ext cx="1138238" cy="800100"/>
            </a:xfrm>
            <a:custGeom>
              <a:avLst/>
              <a:gdLst>
                <a:gd name="T0" fmla="*/ 73 w 651"/>
                <a:gd name="T1" fmla="*/ 72 h 452"/>
                <a:gd name="T2" fmla="*/ 73 w 651"/>
                <a:gd name="T3" fmla="*/ 289 h 452"/>
                <a:gd name="T4" fmla="*/ 134 w 651"/>
                <a:gd name="T5" fmla="*/ 289 h 452"/>
                <a:gd name="T6" fmla="*/ 145 w 651"/>
                <a:gd name="T7" fmla="*/ 303 h 452"/>
                <a:gd name="T8" fmla="*/ 145 w 651"/>
                <a:gd name="T9" fmla="*/ 347 h 452"/>
                <a:gd name="T10" fmla="*/ 134 w 651"/>
                <a:gd name="T11" fmla="*/ 361 h 452"/>
                <a:gd name="T12" fmla="*/ 61 w 651"/>
                <a:gd name="T13" fmla="*/ 361 h 452"/>
                <a:gd name="T14" fmla="*/ 19 w 651"/>
                <a:gd name="T15" fmla="*/ 361 h 452"/>
                <a:gd name="T16" fmla="*/ 17 w 651"/>
                <a:gd name="T17" fmla="*/ 361 h 452"/>
                <a:gd name="T18" fmla="*/ 0 w 651"/>
                <a:gd name="T19" fmla="*/ 347 h 452"/>
                <a:gd name="T20" fmla="*/ 0 w 651"/>
                <a:gd name="T21" fmla="*/ 18 h 452"/>
                <a:gd name="T22" fmla="*/ 17 w 651"/>
                <a:gd name="T23" fmla="*/ 0 h 452"/>
                <a:gd name="T24" fmla="*/ 19 w 651"/>
                <a:gd name="T25" fmla="*/ 0 h 452"/>
                <a:gd name="T26" fmla="*/ 61 w 651"/>
                <a:gd name="T27" fmla="*/ 0 h 452"/>
                <a:gd name="T28" fmla="*/ 134 w 651"/>
                <a:gd name="T29" fmla="*/ 0 h 452"/>
                <a:gd name="T30" fmla="*/ 145 w 651"/>
                <a:gd name="T31" fmla="*/ 18 h 452"/>
                <a:gd name="T32" fmla="*/ 145 w 651"/>
                <a:gd name="T33" fmla="*/ 62 h 452"/>
                <a:gd name="T34" fmla="*/ 134 w 651"/>
                <a:gd name="T35" fmla="*/ 72 h 452"/>
                <a:gd name="T36" fmla="*/ 73 w 651"/>
                <a:gd name="T37" fmla="*/ 72 h 452"/>
                <a:gd name="T38" fmla="*/ 579 w 651"/>
                <a:gd name="T39" fmla="*/ 72 h 452"/>
                <a:gd name="T40" fmla="*/ 579 w 651"/>
                <a:gd name="T41" fmla="*/ 289 h 452"/>
                <a:gd name="T42" fmla="*/ 518 w 651"/>
                <a:gd name="T43" fmla="*/ 289 h 452"/>
                <a:gd name="T44" fmla="*/ 507 w 651"/>
                <a:gd name="T45" fmla="*/ 303 h 452"/>
                <a:gd name="T46" fmla="*/ 507 w 651"/>
                <a:gd name="T47" fmla="*/ 347 h 452"/>
                <a:gd name="T48" fmla="*/ 518 w 651"/>
                <a:gd name="T49" fmla="*/ 361 h 452"/>
                <a:gd name="T50" fmla="*/ 590 w 651"/>
                <a:gd name="T51" fmla="*/ 361 h 452"/>
                <a:gd name="T52" fmla="*/ 632 w 651"/>
                <a:gd name="T53" fmla="*/ 361 h 452"/>
                <a:gd name="T54" fmla="*/ 634 w 651"/>
                <a:gd name="T55" fmla="*/ 361 h 452"/>
                <a:gd name="T56" fmla="*/ 651 w 651"/>
                <a:gd name="T57" fmla="*/ 347 h 452"/>
                <a:gd name="T58" fmla="*/ 651 w 651"/>
                <a:gd name="T59" fmla="*/ 18 h 452"/>
                <a:gd name="T60" fmla="*/ 634 w 651"/>
                <a:gd name="T61" fmla="*/ 0 h 452"/>
                <a:gd name="T62" fmla="*/ 632 w 651"/>
                <a:gd name="T63" fmla="*/ 0 h 452"/>
                <a:gd name="T64" fmla="*/ 590 w 651"/>
                <a:gd name="T65" fmla="*/ 0 h 452"/>
                <a:gd name="T66" fmla="*/ 518 w 651"/>
                <a:gd name="T67" fmla="*/ 0 h 452"/>
                <a:gd name="T68" fmla="*/ 507 w 651"/>
                <a:gd name="T69" fmla="*/ 18 h 452"/>
                <a:gd name="T70" fmla="*/ 507 w 651"/>
                <a:gd name="T71" fmla="*/ 62 h 452"/>
                <a:gd name="T72" fmla="*/ 518 w 651"/>
                <a:gd name="T73" fmla="*/ 72 h 452"/>
                <a:gd name="T74" fmla="*/ 579 w 651"/>
                <a:gd name="T75" fmla="*/ 72 h 452"/>
                <a:gd name="T76" fmla="*/ 149 w 651"/>
                <a:gd name="T77" fmla="*/ 183 h 452"/>
                <a:gd name="T78" fmla="*/ 328 w 651"/>
                <a:gd name="T79" fmla="*/ 3 h 452"/>
                <a:gd name="T80" fmla="*/ 507 w 651"/>
                <a:gd name="T81" fmla="*/ 182 h 452"/>
                <a:gd name="T82" fmla="*/ 415 w 651"/>
                <a:gd name="T83" fmla="*/ 338 h 452"/>
                <a:gd name="T84" fmla="*/ 479 w 651"/>
                <a:gd name="T85" fmla="*/ 438 h 452"/>
                <a:gd name="T86" fmla="*/ 471 w 651"/>
                <a:gd name="T87" fmla="*/ 452 h 452"/>
                <a:gd name="T88" fmla="*/ 404 w 651"/>
                <a:gd name="T89" fmla="*/ 452 h 452"/>
                <a:gd name="T90" fmla="*/ 396 w 651"/>
                <a:gd name="T91" fmla="*/ 448 h 452"/>
                <a:gd name="T92" fmla="*/ 343 w 651"/>
                <a:gd name="T93" fmla="*/ 361 h 452"/>
                <a:gd name="T94" fmla="*/ 328 w 651"/>
                <a:gd name="T95" fmla="*/ 361 h 452"/>
                <a:gd name="T96" fmla="*/ 149 w 651"/>
                <a:gd name="T97" fmla="*/ 183 h 452"/>
                <a:gd name="T98" fmla="*/ 229 w 651"/>
                <a:gd name="T99" fmla="*/ 183 h 452"/>
                <a:gd name="T100" fmla="*/ 328 w 651"/>
                <a:gd name="T101" fmla="*/ 282 h 452"/>
                <a:gd name="T102" fmla="*/ 427 w 651"/>
                <a:gd name="T103" fmla="*/ 183 h 452"/>
                <a:gd name="T104" fmla="*/ 328 w 651"/>
                <a:gd name="T105" fmla="*/ 83 h 452"/>
                <a:gd name="T106" fmla="*/ 229 w 651"/>
                <a:gd name="T107" fmla="*/ 183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1" h="452">
                  <a:moveTo>
                    <a:pt x="73" y="72"/>
                  </a:moveTo>
                  <a:cubicBezTo>
                    <a:pt x="73" y="289"/>
                    <a:pt x="73" y="289"/>
                    <a:pt x="73" y="289"/>
                  </a:cubicBezTo>
                  <a:cubicBezTo>
                    <a:pt x="134" y="289"/>
                    <a:pt x="134" y="289"/>
                    <a:pt x="134" y="289"/>
                  </a:cubicBezTo>
                  <a:cubicBezTo>
                    <a:pt x="142" y="289"/>
                    <a:pt x="145" y="295"/>
                    <a:pt x="145" y="303"/>
                  </a:cubicBezTo>
                  <a:cubicBezTo>
                    <a:pt x="145" y="347"/>
                    <a:pt x="145" y="347"/>
                    <a:pt x="145" y="347"/>
                  </a:cubicBezTo>
                  <a:cubicBezTo>
                    <a:pt x="145" y="355"/>
                    <a:pt x="142" y="361"/>
                    <a:pt x="134" y="361"/>
                  </a:cubicBezTo>
                  <a:cubicBezTo>
                    <a:pt x="61" y="361"/>
                    <a:pt x="61" y="361"/>
                    <a:pt x="61" y="361"/>
                  </a:cubicBezTo>
                  <a:cubicBezTo>
                    <a:pt x="19" y="361"/>
                    <a:pt x="19" y="361"/>
                    <a:pt x="19" y="361"/>
                  </a:cubicBezTo>
                  <a:cubicBezTo>
                    <a:pt x="17" y="361"/>
                    <a:pt x="17" y="361"/>
                    <a:pt x="17" y="361"/>
                  </a:cubicBezTo>
                  <a:cubicBezTo>
                    <a:pt x="9" y="361"/>
                    <a:pt x="0" y="355"/>
                    <a:pt x="0" y="34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0"/>
                    <a:pt x="9" y="0"/>
                    <a:pt x="1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2" y="0"/>
                    <a:pt x="145" y="10"/>
                    <a:pt x="145" y="18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45" y="71"/>
                    <a:pt x="142" y="72"/>
                    <a:pt x="134" y="72"/>
                  </a:cubicBezTo>
                  <a:lnTo>
                    <a:pt x="73" y="72"/>
                  </a:lnTo>
                  <a:close/>
                  <a:moveTo>
                    <a:pt x="579" y="72"/>
                  </a:moveTo>
                  <a:cubicBezTo>
                    <a:pt x="579" y="289"/>
                    <a:pt x="579" y="289"/>
                    <a:pt x="579" y="289"/>
                  </a:cubicBezTo>
                  <a:cubicBezTo>
                    <a:pt x="518" y="289"/>
                    <a:pt x="518" y="289"/>
                    <a:pt x="518" y="289"/>
                  </a:cubicBezTo>
                  <a:cubicBezTo>
                    <a:pt x="509" y="289"/>
                    <a:pt x="507" y="295"/>
                    <a:pt x="507" y="303"/>
                  </a:cubicBezTo>
                  <a:cubicBezTo>
                    <a:pt x="507" y="347"/>
                    <a:pt x="507" y="347"/>
                    <a:pt x="507" y="347"/>
                  </a:cubicBezTo>
                  <a:cubicBezTo>
                    <a:pt x="507" y="355"/>
                    <a:pt x="509" y="361"/>
                    <a:pt x="518" y="361"/>
                  </a:cubicBezTo>
                  <a:cubicBezTo>
                    <a:pt x="590" y="361"/>
                    <a:pt x="590" y="361"/>
                    <a:pt x="590" y="361"/>
                  </a:cubicBezTo>
                  <a:cubicBezTo>
                    <a:pt x="632" y="361"/>
                    <a:pt x="632" y="361"/>
                    <a:pt x="632" y="361"/>
                  </a:cubicBezTo>
                  <a:cubicBezTo>
                    <a:pt x="634" y="361"/>
                    <a:pt x="634" y="361"/>
                    <a:pt x="634" y="361"/>
                  </a:cubicBezTo>
                  <a:cubicBezTo>
                    <a:pt x="643" y="361"/>
                    <a:pt x="651" y="355"/>
                    <a:pt x="651" y="347"/>
                  </a:cubicBezTo>
                  <a:cubicBezTo>
                    <a:pt x="651" y="18"/>
                    <a:pt x="651" y="18"/>
                    <a:pt x="651" y="18"/>
                  </a:cubicBezTo>
                  <a:cubicBezTo>
                    <a:pt x="651" y="10"/>
                    <a:pt x="643" y="0"/>
                    <a:pt x="634" y="0"/>
                  </a:cubicBezTo>
                  <a:cubicBezTo>
                    <a:pt x="632" y="0"/>
                    <a:pt x="632" y="0"/>
                    <a:pt x="632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09" y="0"/>
                    <a:pt x="507" y="10"/>
                    <a:pt x="507" y="18"/>
                  </a:cubicBezTo>
                  <a:cubicBezTo>
                    <a:pt x="507" y="62"/>
                    <a:pt x="507" y="62"/>
                    <a:pt x="507" y="62"/>
                  </a:cubicBezTo>
                  <a:cubicBezTo>
                    <a:pt x="507" y="71"/>
                    <a:pt x="509" y="72"/>
                    <a:pt x="518" y="72"/>
                  </a:cubicBezTo>
                  <a:lnTo>
                    <a:pt x="579" y="72"/>
                  </a:lnTo>
                  <a:close/>
                  <a:moveTo>
                    <a:pt x="149" y="183"/>
                  </a:moveTo>
                  <a:cubicBezTo>
                    <a:pt x="149" y="83"/>
                    <a:pt x="228" y="3"/>
                    <a:pt x="328" y="3"/>
                  </a:cubicBezTo>
                  <a:cubicBezTo>
                    <a:pt x="427" y="3"/>
                    <a:pt x="507" y="83"/>
                    <a:pt x="507" y="182"/>
                  </a:cubicBezTo>
                  <a:cubicBezTo>
                    <a:pt x="507" y="247"/>
                    <a:pt x="469" y="305"/>
                    <a:pt x="415" y="338"/>
                  </a:cubicBezTo>
                  <a:cubicBezTo>
                    <a:pt x="479" y="438"/>
                    <a:pt x="479" y="438"/>
                    <a:pt x="479" y="438"/>
                  </a:cubicBezTo>
                  <a:cubicBezTo>
                    <a:pt x="483" y="445"/>
                    <a:pt x="479" y="452"/>
                    <a:pt x="471" y="452"/>
                  </a:cubicBezTo>
                  <a:cubicBezTo>
                    <a:pt x="404" y="452"/>
                    <a:pt x="404" y="452"/>
                    <a:pt x="404" y="452"/>
                  </a:cubicBezTo>
                  <a:cubicBezTo>
                    <a:pt x="400" y="452"/>
                    <a:pt x="397" y="451"/>
                    <a:pt x="396" y="448"/>
                  </a:cubicBezTo>
                  <a:cubicBezTo>
                    <a:pt x="343" y="361"/>
                    <a:pt x="343" y="361"/>
                    <a:pt x="343" y="361"/>
                  </a:cubicBezTo>
                  <a:cubicBezTo>
                    <a:pt x="337" y="361"/>
                    <a:pt x="331" y="361"/>
                    <a:pt x="328" y="361"/>
                  </a:cubicBezTo>
                  <a:cubicBezTo>
                    <a:pt x="228" y="361"/>
                    <a:pt x="149" y="282"/>
                    <a:pt x="149" y="183"/>
                  </a:cubicBezTo>
                  <a:moveTo>
                    <a:pt x="229" y="183"/>
                  </a:moveTo>
                  <a:cubicBezTo>
                    <a:pt x="229" y="237"/>
                    <a:pt x="273" y="282"/>
                    <a:pt x="328" y="282"/>
                  </a:cubicBezTo>
                  <a:cubicBezTo>
                    <a:pt x="382" y="282"/>
                    <a:pt x="427" y="237"/>
                    <a:pt x="427" y="183"/>
                  </a:cubicBezTo>
                  <a:cubicBezTo>
                    <a:pt x="427" y="128"/>
                    <a:pt x="382" y="83"/>
                    <a:pt x="328" y="83"/>
                  </a:cubicBezTo>
                  <a:cubicBezTo>
                    <a:pt x="273" y="83"/>
                    <a:pt x="229" y="128"/>
                    <a:pt x="229" y="183"/>
                  </a:cubicBezTo>
                </a:path>
              </a:pathLst>
            </a:custGeom>
            <a:solidFill>
              <a:srgbClr val="00FF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cxnSp>
        <p:nvCxnSpPr>
          <p:cNvPr id="10" name="Gerader Verbinder 17">
            <a:extLst>
              <a:ext uri="{FF2B5EF4-FFF2-40B4-BE49-F238E27FC236}">
                <a16:creationId xmlns:a16="http://schemas.microsoft.com/office/drawing/2014/main" id="{8AF3F4E0-99BB-458C-B323-3D5DE0A2F557}"/>
              </a:ext>
            </a:extLst>
          </p:cNvPr>
          <p:cNvCxnSpPr>
            <a:cxnSpLocks/>
          </p:cNvCxnSpPr>
          <p:nvPr userDrawn="1"/>
        </p:nvCxnSpPr>
        <p:spPr>
          <a:xfrm>
            <a:off x="541338" y="6318000"/>
            <a:ext cx="11107737" cy="0"/>
          </a:xfrm>
          <a:prstGeom prst="line">
            <a:avLst/>
          </a:prstGeom>
          <a:ln w="9525">
            <a:solidFill>
              <a:srgbClr val="00FF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8">
            <a:extLst>
              <a:ext uri="{FF2B5EF4-FFF2-40B4-BE49-F238E27FC236}">
                <a16:creationId xmlns:a16="http://schemas.microsoft.com/office/drawing/2014/main" id="{5785BBAE-DE0D-485F-89FA-47394072650A}"/>
              </a:ext>
            </a:extLst>
          </p:cNvPr>
          <p:cNvCxnSpPr>
            <a:cxnSpLocks/>
          </p:cNvCxnSpPr>
          <p:nvPr userDrawn="1"/>
        </p:nvCxnSpPr>
        <p:spPr>
          <a:xfrm>
            <a:off x="540000" y="595316"/>
            <a:ext cx="11109075" cy="0"/>
          </a:xfrm>
          <a:prstGeom prst="line">
            <a:avLst/>
          </a:prstGeom>
          <a:ln w="9525">
            <a:solidFill>
              <a:srgbClr val="00FF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36EFFB6-A15C-4798-A9CC-0FC85D9D7A3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801812"/>
            <a:ext cx="4144963" cy="4318187"/>
          </a:xfrm>
          <a:solidFill>
            <a:schemeClr val="accent1">
              <a:alpha val="1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466B8055-61CC-484A-912B-B5D15A38F0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7612" y="1800000"/>
            <a:ext cx="3598613" cy="1260000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chemeClr val="accent1"/>
              </a:buClr>
              <a:buNone/>
              <a:defRPr sz="1400">
                <a:latin typeface="+mn-lt"/>
              </a:defRPr>
            </a:lvl1pPr>
            <a:lvl2pPr marL="266700" indent="-266700">
              <a:buClr>
                <a:schemeClr val="accent1"/>
              </a:buClr>
              <a:defRPr sz="1400">
                <a:latin typeface="+mn-lt"/>
              </a:defRPr>
            </a:lvl2pPr>
            <a:lvl3pPr marL="446088" indent="-179388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628650" indent="-176213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808038" indent="-180975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0ECD6180-78AD-42CC-B006-117A52C13B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50462" y="1800000"/>
            <a:ext cx="3598613" cy="1260000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chemeClr val="accent1"/>
              </a:buClr>
              <a:buNone/>
              <a:defRPr sz="1400">
                <a:latin typeface="+mn-lt"/>
              </a:defRPr>
            </a:lvl1pPr>
            <a:lvl2pPr marL="266700" indent="-266700">
              <a:buClr>
                <a:schemeClr val="accent1"/>
              </a:buClr>
              <a:defRPr sz="1400">
                <a:latin typeface="+mn-lt"/>
              </a:defRPr>
            </a:lvl2pPr>
            <a:lvl3pPr marL="446088" indent="-179388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628650" indent="-176213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808038" indent="-180975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87B031C1-BB85-4982-9554-F780BEE20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1338" y="349250"/>
            <a:ext cx="3752850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 b="1"/>
            </a:lvl2pPr>
            <a:lvl3pPr marL="914400" indent="0">
              <a:buNone/>
              <a:defRPr sz="1200" b="1"/>
            </a:lvl3pPr>
            <a:lvl4pPr marL="1371600" indent="0">
              <a:buNone/>
              <a:defRPr sz="1200" b="1"/>
            </a:lvl4pPr>
            <a:lvl5pPr marL="1828800" indent="0">
              <a:buNone/>
              <a:defRPr sz="12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5861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1">
          <p15:clr>
            <a:srgbClr val="FBAE40"/>
          </p15:clr>
        </p15:guide>
        <p15:guide id="2" pos="7338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20">
          <p15:clr>
            <a:srgbClr val="FBAE40"/>
          </p15:clr>
        </p15:guide>
        <p15:guide id="5" orient="horz" pos="452">
          <p15:clr>
            <a:srgbClr val="FBAE40"/>
          </p15:clr>
        </p15:guide>
        <p15:guide id="6" orient="horz" pos="1135">
          <p15:clr>
            <a:srgbClr val="FBAE40"/>
          </p15:clr>
        </p15:guide>
        <p15:guide id="7" orient="horz" pos="3979">
          <p15:clr>
            <a:srgbClr val="FBAE40"/>
          </p15:clr>
        </p15:guide>
        <p15:guide id="8" pos="2607">
          <p15:clr>
            <a:srgbClr val="FBAE40"/>
          </p15:clr>
        </p15:guide>
        <p15:guide id="9" pos="2705">
          <p15:clr>
            <a:srgbClr val="FBAE40"/>
          </p15:clr>
        </p15:guide>
        <p15:guide id="10" pos="5070">
          <p15:clr>
            <a:srgbClr val="FBAE40"/>
          </p15:clr>
        </p15:guide>
        <p15:guide id="11" pos="497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39349" y="407459"/>
            <a:ext cx="8640000" cy="816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40000" y="1608000"/>
            <a:ext cx="8640000" cy="4512000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768000" y="6432001"/>
            <a:ext cx="2880000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93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Abt., Referent, Datum</a:t>
            </a:r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40000" y="6432001"/>
            <a:ext cx="480000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de-DE" sz="93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83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39349" y="407459"/>
            <a:ext cx="8640000" cy="816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40000" y="1608000"/>
            <a:ext cx="8640000" cy="4512000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768000" y="6432001"/>
            <a:ext cx="2880000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93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Abt., Referent, Datum</a:t>
            </a:r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40000" y="6432001"/>
            <a:ext cx="480000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de-DE" sz="93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60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684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643145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78800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7630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20404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58104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6" name="Tabellenplatzhalter 15"/>
          <p:cNvSpPr>
            <a:spLocks noGrp="1"/>
          </p:cNvSpPr>
          <p:nvPr>
            <p:ph type="tbl" sz="quarter" idx="16"/>
          </p:nvPr>
        </p:nvSpPr>
        <p:spPr>
          <a:xfrm>
            <a:off x="6096001" y="1452563"/>
            <a:ext cx="6096000" cy="451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8E8F272A-7F06-4CC9-9F4A-798ACD0AD6E8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451EC3B-B3F6-4DF8-A7D1-BF880BB086F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28079EF-73BD-452B-BEC2-395DC9C94C7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bteilung, Referent</a:t>
            </a:r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6663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7373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8583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1201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83256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44976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7201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16316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25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31602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43934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2913" y="1452563"/>
            <a:ext cx="11304587" cy="4510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565374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997263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2815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717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70241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4662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8548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03662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4643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95743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5965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6206400" y="0"/>
            <a:ext cx="59864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5543663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554355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Onlinebild-Platzhalter 2">
            <a:extLst>
              <a:ext uri="{FF2B5EF4-FFF2-40B4-BE49-F238E27FC236}">
                <a16:creationId xmlns:a16="http://schemas.microsoft.com/office/drawing/2014/main" id="{59B6A1D1-4AB2-48CB-9F42-031B601B1AD9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4328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 userDrawn="1">
          <p15:clr>
            <a:srgbClr val="FBAE40"/>
          </p15:clr>
        </p15:guide>
        <p15:guide id="2" pos="3909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29657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82963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60986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46243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9697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87276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845710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1319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1777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40377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864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06400" y="295428"/>
            <a:ext cx="5543663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6206400" y="1454400"/>
            <a:ext cx="554355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D220F8D-AB35-499E-A29B-B7244D54B3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10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3830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05129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81673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56613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62323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45160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53854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11887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3358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8180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840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klein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8124092" y="0"/>
            <a:ext cx="4068770" cy="5965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799" y="295428"/>
            <a:ext cx="74628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7462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3000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979" userDrawn="1">
          <p15:clr>
            <a:srgbClr val="FBAE40"/>
          </p15:clr>
        </p15:guide>
        <p15:guide id="2" pos="5117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7957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02667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726565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1573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22394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290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394136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6101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1473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16886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4068770" cy="5965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84586" y="295428"/>
            <a:ext cx="74628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284700" y="1454400"/>
            <a:ext cx="7462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2924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64" userDrawn="1">
          <p15:clr>
            <a:srgbClr val="FBAE40"/>
          </p15:clr>
        </p15:guide>
        <p15:guide id="2" pos="2699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3244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61782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54595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623291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15182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98551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21477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12.w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2.xml"/><Relationship Id="rId20" Type="http://schemas.openxmlformats.org/officeDocument/2006/relationships/image" Target="../media/image14.jpe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51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67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83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5626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415" imgH="416" progId="TCLayout.ActiveDocument.1">
                  <p:embed/>
                </p:oleObj>
              </mc:Choice>
              <mc:Fallback>
                <p:oleObj name="think-cell Folie" r:id="rId36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000" cy="88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307941" y="6433200"/>
            <a:ext cx="130399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/>
              <a:t>25. März 2021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2800" y="6433200"/>
            <a:ext cx="33825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fld id="{75489516-F02F-4F62-94BB-8770C355AB60}" type="slidenum">
              <a:rPr lang="de-DE" smtClean="0"/>
              <a:pPr marL="0" indent="0">
                <a:buFont typeface="Arial" panose="020B0604020202020204" pitchFamily="34" charset="0"/>
                <a:buNone/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>
          <a:xfrm>
            <a:off x="442800" y="1454400"/>
            <a:ext cx="11304000" cy="451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442800" y="6253200"/>
            <a:ext cx="36288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Abteilung, Referent</a:t>
            </a:r>
          </a:p>
        </p:txBody>
      </p:sp>
    </p:spTree>
    <p:extLst>
      <p:ext uri="{BB962C8B-B14F-4D97-AF65-F5344CB8AC3E}">
        <p14:creationId xmlns:p14="http://schemas.microsoft.com/office/powerpoint/2010/main" val="2175722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6" r:id="rId2"/>
    <p:sldLayoutId id="2147483651" r:id="rId3"/>
    <p:sldLayoutId id="2147483680" r:id="rId4"/>
    <p:sldLayoutId id="2147483650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82" r:id="rId13"/>
    <p:sldLayoutId id="2147483665" r:id="rId14"/>
    <p:sldLayoutId id="2147483664" r:id="rId15"/>
    <p:sldLayoutId id="2147483666" r:id="rId16"/>
    <p:sldLayoutId id="2147483671" r:id="rId17"/>
    <p:sldLayoutId id="2147483670" r:id="rId18"/>
    <p:sldLayoutId id="2147483669" r:id="rId19"/>
    <p:sldLayoutId id="2147483668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654" r:id="rId26"/>
    <p:sldLayoutId id="2147483655" r:id="rId27"/>
    <p:sldLayoutId id="2147483678" r:id="rId28"/>
    <p:sldLayoutId id="2147483677" r:id="rId29"/>
    <p:sldLayoutId id="2147483685" r:id="rId30"/>
    <p:sldLayoutId id="2147483790" r:id="rId31"/>
    <p:sldLayoutId id="2147483791" r:id="rId32"/>
    <p:sldLayoutId id="2147483792" r:id="rId3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6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Ubuntu" panose="020B0504030602030204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2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6" userDrawn="1">
          <p15:clr>
            <a:srgbClr val="F26B43"/>
          </p15:clr>
        </p15:guide>
        <p15:guide id="2" pos="7400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orient="horz" pos="915" userDrawn="1">
          <p15:clr>
            <a:srgbClr val="F26B43"/>
          </p15:clr>
        </p15:guide>
        <p15:guide id="5" orient="horz" pos="3758" userDrawn="1">
          <p15:clr>
            <a:srgbClr val="F26B43"/>
          </p15:clr>
        </p15:guide>
        <p15:guide id="6" orient="horz" pos="3957" userDrawn="1">
          <p15:clr>
            <a:srgbClr val="F26B43"/>
          </p15:clr>
        </p15:guide>
        <p15:guide id="7" orient="horz" pos="41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95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37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7871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43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vkb.de/" TargetMode="Externa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0.png"/><Relationship Id="rId5" Type="http://schemas.openxmlformats.org/officeDocument/2006/relationships/image" Target="../media/image19.jp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2.pn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800" dirty="0"/>
              <a:t>REST</a:t>
            </a:r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it JS und Springboot</a:t>
            </a:r>
          </a:p>
        </p:txBody>
      </p:sp>
    </p:spTree>
    <p:extLst>
      <p:ext uri="{BB962C8B-B14F-4D97-AF65-F5344CB8AC3E}">
        <p14:creationId xmlns:p14="http://schemas.microsoft.com/office/powerpoint/2010/main" val="2282274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Aufruf im Fronte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54660-7BF4-5065-4DAA-31FE492102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0000" y="1608000"/>
            <a:ext cx="8640000" cy="52485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Javascript</a:t>
            </a:r>
            <a:r>
              <a:rPr lang="de-DE" dirty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3A4378C-F8E5-5BDD-8B44-FED29E78AAB3}"/>
              </a:ext>
            </a:extLst>
          </p:cNvPr>
          <p:cNvSpPr txBox="1"/>
          <p:nvPr/>
        </p:nvSpPr>
        <p:spPr>
          <a:xfrm>
            <a:off x="239349" y="2517397"/>
            <a:ext cx="10369152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("http://localhost:8080/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getCoords?x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 + x + "&amp;y=" + y + "&amp;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+ 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   .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response</a:t>
            </a:r>
            <a:r>
              <a:rPr lang="de-DE" b="0" dirty="0">
                <a:effectLst/>
                <a:latin typeface="Consolas" panose="020B0609020204030204" pitchFamily="49" charset="0"/>
              </a:rPr>
              <a:t>) =&gt; 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response.js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{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left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top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y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});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184011-58D4-0AFC-513E-6952F8E9A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07459"/>
            <a:ext cx="1052651" cy="1052651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344800E-C269-EBBA-E7EA-94CA03684FEC}"/>
              </a:ext>
            </a:extLst>
          </p:cNvPr>
          <p:cNvCxnSpPr>
            <a:cxnSpLocks/>
          </p:cNvCxnSpPr>
          <p:nvPr/>
        </p:nvCxnSpPr>
        <p:spPr>
          <a:xfrm flipH="1">
            <a:off x="9999364" y="3032926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496DC4D-0362-7874-8539-6AEF66C412AF}"/>
              </a:ext>
            </a:extLst>
          </p:cNvPr>
          <p:cNvSpPr txBox="1"/>
          <p:nvPr/>
        </p:nvSpPr>
        <p:spPr>
          <a:xfrm>
            <a:off x="10250881" y="2754048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x:102,y:206.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4B1F1FF-3F0D-390A-D02E-4397762E5223}"/>
              </a:ext>
            </a:extLst>
          </p:cNvPr>
          <p:cNvSpPr txBox="1"/>
          <p:nvPr/>
        </p:nvSpPr>
        <p:spPr>
          <a:xfrm>
            <a:off x="10250881" y="3500886"/>
            <a:ext cx="2448272" cy="132800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x:102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y:206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direction:1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68B277-8638-6182-25D1-7323DFF0383A}"/>
              </a:ext>
            </a:extLst>
          </p:cNvPr>
          <p:cNvSpPr txBox="1"/>
          <p:nvPr/>
        </p:nvSpPr>
        <p:spPr>
          <a:xfrm rot="16200000">
            <a:off x="9242771" y="3776953"/>
            <a:ext cx="166956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JSON-String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22F25E-96B8-0D31-EE31-439540C839C6}"/>
              </a:ext>
            </a:extLst>
          </p:cNvPr>
          <p:cNvCxnSpPr/>
          <p:nvPr/>
        </p:nvCxnSpPr>
        <p:spPr>
          <a:xfrm>
            <a:off x="2279576" y="3086189"/>
            <a:ext cx="7560840" cy="918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35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Aufruf im Fronte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54660-7BF4-5065-4DAA-31FE492102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0000" y="1608000"/>
            <a:ext cx="8640000" cy="52485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Javascript</a:t>
            </a:r>
            <a:r>
              <a:rPr lang="de-DE" dirty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11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3A4378C-F8E5-5BDD-8B44-FED29E78AAB3}"/>
              </a:ext>
            </a:extLst>
          </p:cNvPr>
          <p:cNvSpPr txBox="1"/>
          <p:nvPr/>
        </p:nvSpPr>
        <p:spPr>
          <a:xfrm>
            <a:off x="239349" y="2517397"/>
            <a:ext cx="10369152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("http://localhost:8080/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getCoords?x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 + x + "&amp;y=" + y + "&amp;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+ 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response.json</a:t>
            </a:r>
            <a:r>
              <a:rPr lang="de-DE" b="0" dirty="0">
                <a:effectLst/>
                <a:latin typeface="Consolas" panose="020B0609020204030204" pitchFamily="49" charset="0"/>
              </a:rPr>
              <a:t>())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{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left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top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y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});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184011-58D4-0AFC-513E-6952F8E9A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07459"/>
            <a:ext cx="1052651" cy="1052651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344800E-C269-EBBA-E7EA-94CA03684FEC}"/>
              </a:ext>
            </a:extLst>
          </p:cNvPr>
          <p:cNvCxnSpPr>
            <a:cxnSpLocks/>
          </p:cNvCxnSpPr>
          <p:nvPr/>
        </p:nvCxnSpPr>
        <p:spPr>
          <a:xfrm flipH="1">
            <a:off x="9999364" y="3032926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496DC4D-0362-7874-8539-6AEF66C412AF}"/>
              </a:ext>
            </a:extLst>
          </p:cNvPr>
          <p:cNvSpPr txBox="1"/>
          <p:nvPr/>
        </p:nvSpPr>
        <p:spPr>
          <a:xfrm>
            <a:off x="10250881" y="2754048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x:102,y:206.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4B1F1FF-3F0D-390A-D02E-4397762E5223}"/>
              </a:ext>
            </a:extLst>
          </p:cNvPr>
          <p:cNvSpPr txBox="1"/>
          <p:nvPr/>
        </p:nvSpPr>
        <p:spPr>
          <a:xfrm>
            <a:off x="10250881" y="3500886"/>
            <a:ext cx="2448272" cy="132800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x:102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y:206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direction:1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68B277-8638-6182-25D1-7323DFF0383A}"/>
              </a:ext>
            </a:extLst>
          </p:cNvPr>
          <p:cNvSpPr txBox="1"/>
          <p:nvPr/>
        </p:nvSpPr>
        <p:spPr>
          <a:xfrm rot="16200000">
            <a:off x="9242771" y="3776953"/>
            <a:ext cx="166956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JSON-St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99484C2-9170-CDCF-B337-B3EE4FB3BA52}"/>
              </a:ext>
            </a:extLst>
          </p:cNvPr>
          <p:cNvSpPr/>
          <p:nvPr/>
        </p:nvSpPr>
        <p:spPr>
          <a:xfrm>
            <a:off x="6258707" y="3975559"/>
            <a:ext cx="1584176" cy="1224136"/>
          </a:xfrm>
          <a:custGeom>
            <a:avLst/>
            <a:gdLst>
              <a:gd name="connsiteX0" fmla="*/ 0 w 1584176"/>
              <a:gd name="connsiteY0" fmla="*/ 204027 h 1224136"/>
              <a:gd name="connsiteX1" fmla="*/ 204027 w 1584176"/>
              <a:gd name="connsiteY1" fmla="*/ 0 h 1224136"/>
              <a:gd name="connsiteX2" fmla="*/ 815610 w 1584176"/>
              <a:gd name="connsiteY2" fmla="*/ 0 h 1224136"/>
              <a:gd name="connsiteX3" fmla="*/ 1380149 w 1584176"/>
              <a:gd name="connsiteY3" fmla="*/ 0 h 1224136"/>
              <a:gd name="connsiteX4" fmla="*/ 1584176 w 1584176"/>
              <a:gd name="connsiteY4" fmla="*/ 204027 h 1224136"/>
              <a:gd name="connsiteX5" fmla="*/ 1584176 w 1584176"/>
              <a:gd name="connsiteY5" fmla="*/ 595746 h 1224136"/>
              <a:gd name="connsiteX6" fmla="*/ 1584176 w 1584176"/>
              <a:gd name="connsiteY6" fmla="*/ 1020109 h 1224136"/>
              <a:gd name="connsiteX7" fmla="*/ 1380149 w 1584176"/>
              <a:gd name="connsiteY7" fmla="*/ 1224136 h 1224136"/>
              <a:gd name="connsiteX8" fmla="*/ 815610 w 1584176"/>
              <a:gd name="connsiteY8" fmla="*/ 1224136 h 1224136"/>
              <a:gd name="connsiteX9" fmla="*/ 204027 w 1584176"/>
              <a:gd name="connsiteY9" fmla="*/ 1224136 h 1224136"/>
              <a:gd name="connsiteX10" fmla="*/ 0 w 1584176"/>
              <a:gd name="connsiteY10" fmla="*/ 1020109 h 1224136"/>
              <a:gd name="connsiteX11" fmla="*/ 0 w 1584176"/>
              <a:gd name="connsiteY11" fmla="*/ 636550 h 1224136"/>
              <a:gd name="connsiteX12" fmla="*/ 0 w 1584176"/>
              <a:gd name="connsiteY12" fmla="*/ 204027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84176" h="1224136" extrusionOk="0">
                <a:moveTo>
                  <a:pt x="0" y="204027"/>
                </a:moveTo>
                <a:cubicBezTo>
                  <a:pt x="-18516" y="79925"/>
                  <a:pt x="75276" y="6031"/>
                  <a:pt x="204027" y="0"/>
                </a:cubicBezTo>
                <a:cubicBezTo>
                  <a:pt x="349409" y="-8983"/>
                  <a:pt x="683563" y="-25435"/>
                  <a:pt x="815610" y="0"/>
                </a:cubicBezTo>
                <a:cubicBezTo>
                  <a:pt x="947657" y="25435"/>
                  <a:pt x="1182979" y="10755"/>
                  <a:pt x="1380149" y="0"/>
                </a:cubicBezTo>
                <a:cubicBezTo>
                  <a:pt x="1468823" y="-13135"/>
                  <a:pt x="1593736" y="95914"/>
                  <a:pt x="1584176" y="204027"/>
                </a:cubicBezTo>
                <a:cubicBezTo>
                  <a:pt x="1572662" y="354510"/>
                  <a:pt x="1565965" y="496564"/>
                  <a:pt x="1584176" y="595746"/>
                </a:cubicBezTo>
                <a:cubicBezTo>
                  <a:pt x="1602387" y="694928"/>
                  <a:pt x="1603813" y="874359"/>
                  <a:pt x="1584176" y="1020109"/>
                </a:cubicBezTo>
                <a:cubicBezTo>
                  <a:pt x="1583863" y="1129803"/>
                  <a:pt x="1479201" y="1243076"/>
                  <a:pt x="1380149" y="1224136"/>
                </a:cubicBezTo>
                <a:cubicBezTo>
                  <a:pt x="1107627" y="1250131"/>
                  <a:pt x="1006674" y="1219977"/>
                  <a:pt x="815610" y="1224136"/>
                </a:cubicBezTo>
                <a:cubicBezTo>
                  <a:pt x="624546" y="1228295"/>
                  <a:pt x="400996" y="1220064"/>
                  <a:pt x="204027" y="1224136"/>
                </a:cubicBezTo>
                <a:cubicBezTo>
                  <a:pt x="93200" y="1226896"/>
                  <a:pt x="865" y="1141751"/>
                  <a:pt x="0" y="1020109"/>
                </a:cubicBezTo>
                <a:cubicBezTo>
                  <a:pt x="12259" y="842569"/>
                  <a:pt x="15067" y="717255"/>
                  <a:pt x="0" y="636550"/>
                </a:cubicBezTo>
                <a:cubicBezTo>
                  <a:pt x="-15067" y="555845"/>
                  <a:pt x="8666" y="310839"/>
                  <a:pt x="0" y="204027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05F7B86-A9FF-2BFB-8AF3-65E628399ABC}"/>
              </a:ext>
            </a:extLst>
          </p:cNvPr>
          <p:cNvSpPr txBox="1"/>
          <p:nvPr/>
        </p:nvSpPr>
        <p:spPr>
          <a:xfrm>
            <a:off x="6402723" y="4191583"/>
            <a:ext cx="1296144" cy="8863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/>
              <a:t>x:102</a:t>
            </a:r>
          </a:p>
          <a:p>
            <a:pPr marL="0" indent="0">
              <a:buNone/>
            </a:pPr>
            <a:r>
              <a:rPr lang="de-DE" dirty="0"/>
              <a:t>y:206</a:t>
            </a:r>
          </a:p>
          <a:p>
            <a:pPr marL="0" indent="0">
              <a:buNone/>
            </a:pPr>
            <a:r>
              <a:rPr lang="de-DE" dirty="0"/>
              <a:t>direction:1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7EFBFAB-F7F7-4B28-2941-C273473115F7}"/>
              </a:ext>
            </a:extLst>
          </p:cNvPr>
          <p:cNvCxnSpPr/>
          <p:nvPr/>
        </p:nvCxnSpPr>
        <p:spPr>
          <a:xfrm>
            <a:off x="3431704" y="3032926"/>
            <a:ext cx="6472517" cy="972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E22F8FE-6615-A638-1DCB-BADAE0B23461}"/>
              </a:ext>
            </a:extLst>
          </p:cNvPr>
          <p:cNvCxnSpPr>
            <a:cxnSpLocks/>
          </p:cNvCxnSpPr>
          <p:nvPr/>
        </p:nvCxnSpPr>
        <p:spPr>
          <a:xfrm>
            <a:off x="4223792" y="3075489"/>
            <a:ext cx="2619999" cy="859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587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Aufruf im Fronte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54660-7BF4-5065-4DAA-31FE492102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0000" y="1608000"/>
            <a:ext cx="8640000" cy="52485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Javascript</a:t>
            </a:r>
            <a:r>
              <a:rPr lang="de-DE" dirty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1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3A4378C-F8E5-5BDD-8B44-FED29E78AAB3}"/>
              </a:ext>
            </a:extLst>
          </p:cNvPr>
          <p:cNvSpPr txBox="1"/>
          <p:nvPr/>
        </p:nvSpPr>
        <p:spPr>
          <a:xfrm>
            <a:off x="239349" y="2517397"/>
            <a:ext cx="10369152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("http://localhost:8080/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getCoords?x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 + x + "&amp;y=" + y + "&amp;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+ 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response.json</a:t>
            </a:r>
            <a:r>
              <a:rPr lang="de-DE" b="0" dirty="0">
                <a:effectLst/>
                <a:latin typeface="Consolas" panose="020B0609020204030204" pitchFamily="49" charset="0"/>
              </a:rPr>
              <a:t>())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{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left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top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y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});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184011-58D4-0AFC-513E-6952F8E9A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07459"/>
            <a:ext cx="1052651" cy="1052651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344800E-C269-EBBA-E7EA-94CA03684FEC}"/>
              </a:ext>
            </a:extLst>
          </p:cNvPr>
          <p:cNvCxnSpPr>
            <a:cxnSpLocks/>
          </p:cNvCxnSpPr>
          <p:nvPr/>
        </p:nvCxnSpPr>
        <p:spPr>
          <a:xfrm flipH="1">
            <a:off x="9999364" y="3032926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496DC4D-0362-7874-8539-6AEF66C412AF}"/>
              </a:ext>
            </a:extLst>
          </p:cNvPr>
          <p:cNvSpPr txBox="1"/>
          <p:nvPr/>
        </p:nvSpPr>
        <p:spPr>
          <a:xfrm>
            <a:off x="10250881" y="2754048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x:102,y:206.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4B1F1FF-3F0D-390A-D02E-4397762E5223}"/>
              </a:ext>
            </a:extLst>
          </p:cNvPr>
          <p:cNvSpPr txBox="1"/>
          <p:nvPr/>
        </p:nvSpPr>
        <p:spPr>
          <a:xfrm>
            <a:off x="10250881" y="3500886"/>
            <a:ext cx="2448272" cy="132800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x:102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y:206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direction:1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68B277-8638-6182-25D1-7323DFF0383A}"/>
              </a:ext>
            </a:extLst>
          </p:cNvPr>
          <p:cNvSpPr txBox="1"/>
          <p:nvPr/>
        </p:nvSpPr>
        <p:spPr>
          <a:xfrm rot="16200000">
            <a:off x="9242771" y="3776953"/>
            <a:ext cx="166956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JSON-St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99484C2-9170-CDCF-B337-B3EE4FB3BA52}"/>
              </a:ext>
            </a:extLst>
          </p:cNvPr>
          <p:cNvSpPr/>
          <p:nvPr/>
        </p:nvSpPr>
        <p:spPr>
          <a:xfrm>
            <a:off x="6258707" y="3975559"/>
            <a:ext cx="1584176" cy="1224136"/>
          </a:xfrm>
          <a:custGeom>
            <a:avLst/>
            <a:gdLst>
              <a:gd name="connsiteX0" fmla="*/ 0 w 1584176"/>
              <a:gd name="connsiteY0" fmla="*/ 204027 h 1224136"/>
              <a:gd name="connsiteX1" fmla="*/ 204027 w 1584176"/>
              <a:gd name="connsiteY1" fmla="*/ 0 h 1224136"/>
              <a:gd name="connsiteX2" fmla="*/ 815610 w 1584176"/>
              <a:gd name="connsiteY2" fmla="*/ 0 h 1224136"/>
              <a:gd name="connsiteX3" fmla="*/ 1380149 w 1584176"/>
              <a:gd name="connsiteY3" fmla="*/ 0 h 1224136"/>
              <a:gd name="connsiteX4" fmla="*/ 1584176 w 1584176"/>
              <a:gd name="connsiteY4" fmla="*/ 204027 h 1224136"/>
              <a:gd name="connsiteX5" fmla="*/ 1584176 w 1584176"/>
              <a:gd name="connsiteY5" fmla="*/ 595746 h 1224136"/>
              <a:gd name="connsiteX6" fmla="*/ 1584176 w 1584176"/>
              <a:gd name="connsiteY6" fmla="*/ 1020109 h 1224136"/>
              <a:gd name="connsiteX7" fmla="*/ 1380149 w 1584176"/>
              <a:gd name="connsiteY7" fmla="*/ 1224136 h 1224136"/>
              <a:gd name="connsiteX8" fmla="*/ 815610 w 1584176"/>
              <a:gd name="connsiteY8" fmla="*/ 1224136 h 1224136"/>
              <a:gd name="connsiteX9" fmla="*/ 204027 w 1584176"/>
              <a:gd name="connsiteY9" fmla="*/ 1224136 h 1224136"/>
              <a:gd name="connsiteX10" fmla="*/ 0 w 1584176"/>
              <a:gd name="connsiteY10" fmla="*/ 1020109 h 1224136"/>
              <a:gd name="connsiteX11" fmla="*/ 0 w 1584176"/>
              <a:gd name="connsiteY11" fmla="*/ 636550 h 1224136"/>
              <a:gd name="connsiteX12" fmla="*/ 0 w 1584176"/>
              <a:gd name="connsiteY12" fmla="*/ 204027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84176" h="1224136" extrusionOk="0">
                <a:moveTo>
                  <a:pt x="0" y="204027"/>
                </a:moveTo>
                <a:cubicBezTo>
                  <a:pt x="-18516" y="79925"/>
                  <a:pt x="75276" y="6031"/>
                  <a:pt x="204027" y="0"/>
                </a:cubicBezTo>
                <a:cubicBezTo>
                  <a:pt x="349409" y="-8983"/>
                  <a:pt x="683563" y="-25435"/>
                  <a:pt x="815610" y="0"/>
                </a:cubicBezTo>
                <a:cubicBezTo>
                  <a:pt x="947657" y="25435"/>
                  <a:pt x="1182979" y="10755"/>
                  <a:pt x="1380149" y="0"/>
                </a:cubicBezTo>
                <a:cubicBezTo>
                  <a:pt x="1468823" y="-13135"/>
                  <a:pt x="1593736" y="95914"/>
                  <a:pt x="1584176" y="204027"/>
                </a:cubicBezTo>
                <a:cubicBezTo>
                  <a:pt x="1572662" y="354510"/>
                  <a:pt x="1565965" y="496564"/>
                  <a:pt x="1584176" y="595746"/>
                </a:cubicBezTo>
                <a:cubicBezTo>
                  <a:pt x="1602387" y="694928"/>
                  <a:pt x="1603813" y="874359"/>
                  <a:pt x="1584176" y="1020109"/>
                </a:cubicBezTo>
                <a:cubicBezTo>
                  <a:pt x="1583863" y="1129803"/>
                  <a:pt x="1479201" y="1243076"/>
                  <a:pt x="1380149" y="1224136"/>
                </a:cubicBezTo>
                <a:cubicBezTo>
                  <a:pt x="1107627" y="1250131"/>
                  <a:pt x="1006674" y="1219977"/>
                  <a:pt x="815610" y="1224136"/>
                </a:cubicBezTo>
                <a:cubicBezTo>
                  <a:pt x="624546" y="1228295"/>
                  <a:pt x="400996" y="1220064"/>
                  <a:pt x="204027" y="1224136"/>
                </a:cubicBezTo>
                <a:cubicBezTo>
                  <a:pt x="93200" y="1226896"/>
                  <a:pt x="865" y="1141751"/>
                  <a:pt x="0" y="1020109"/>
                </a:cubicBezTo>
                <a:cubicBezTo>
                  <a:pt x="12259" y="842569"/>
                  <a:pt x="15067" y="717255"/>
                  <a:pt x="0" y="636550"/>
                </a:cubicBezTo>
                <a:cubicBezTo>
                  <a:pt x="-15067" y="555845"/>
                  <a:pt x="8666" y="310839"/>
                  <a:pt x="0" y="204027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05F7B86-A9FF-2BFB-8AF3-65E628399ABC}"/>
              </a:ext>
            </a:extLst>
          </p:cNvPr>
          <p:cNvSpPr txBox="1"/>
          <p:nvPr/>
        </p:nvSpPr>
        <p:spPr>
          <a:xfrm>
            <a:off x="6402723" y="4191583"/>
            <a:ext cx="1296144" cy="8863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/>
              <a:t>x:102</a:t>
            </a:r>
          </a:p>
          <a:p>
            <a:pPr marL="0" indent="0">
              <a:buNone/>
            </a:pPr>
            <a:r>
              <a:rPr lang="de-DE" dirty="0"/>
              <a:t>y:206</a:t>
            </a:r>
          </a:p>
          <a:p>
            <a:pPr marL="0" indent="0">
              <a:buNone/>
            </a:pPr>
            <a:r>
              <a:rPr lang="de-DE" dirty="0"/>
              <a:t>direction:1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7EFBFAB-F7F7-4B28-2941-C273473115F7}"/>
              </a:ext>
            </a:extLst>
          </p:cNvPr>
          <p:cNvCxnSpPr/>
          <p:nvPr/>
        </p:nvCxnSpPr>
        <p:spPr>
          <a:xfrm>
            <a:off x="3431704" y="3032926"/>
            <a:ext cx="6472517" cy="972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E22F8FE-6615-A638-1DCB-BADAE0B23461}"/>
              </a:ext>
            </a:extLst>
          </p:cNvPr>
          <p:cNvCxnSpPr>
            <a:cxnSpLocks/>
          </p:cNvCxnSpPr>
          <p:nvPr/>
        </p:nvCxnSpPr>
        <p:spPr>
          <a:xfrm>
            <a:off x="4223792" y="3075489"/>
            <a:ext cx="2619999" cy="859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86F63A56-07C8-A630-6795-9567A632812D}"/>
              </a:ext>
            </a:extLst>
          </p:cNvPr>
          <p:cNvSpPr txBox="1"/>
          <p:nvPr/>
        </p:nvSpPr>
        <p:spPr>
          <a:xfrm>
            <a:off x="6843791" y="3703550"/>
            <a:ext cx="1080120" cy="179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/>
              <a:t>coord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808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Aufruf im Fronte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54660-7BF4-5065-4DAA-31FE492102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0000" y="1608000"/>
            <a:ext cx="8640000" cy="52485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Javascript</a:t>
            </a:r>
            <a:r>
              <a:rPr lang="de-DE" dirty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1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3A4378C-F8E5-5BDD-8B44-FED29E78AAB3}"/>
              </a:ext>
            </a:extLst>
          </p:cNvPr>
          <p:cNvSpPr txBox="1"/>
          <p:nvPr/>
        </p:nvSpPr>
        <p:spPr>
          <a:xfrm>
            <a:off x="239349" y="2517397"/>
            <a:ext cx="10369152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("http://localhost:8080/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getCoords?x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 + x + "&amp;y=" + y + "&amp;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"+ </a:t>
            </a:r>
            <a:r>
              <a:rPr lang="de-DE" b="0" dirty="0" err="1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.js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>
                <a:effectLst/>
                <a:latin typeface="Consolas" panose="020B0609020204030204" pitchFamily="49" charset="0"/>
              </a:rPr>
              <a:t>.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coords</a:t>
            </a:r>
            <a:r>
              <a:rPr lang="de-DE" b="0" dirty="0">
                <a:effectLst/>
                <a:latin typeface="Consolas" panose="020B0609020204030204" pitchFamily="49" charset="0"/>
              </a:rPr>
              <a:t>) =&gt; {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image.style.left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coords.x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image.style.top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coords.y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coords.direction</a:t>
            </a:r>
            <a:r>
              <a:rPr lang="de-DE" b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});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184011-58D4-0AFC-513E-6952F8E9A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07459"/>
            <a:ext cx="1052651" cy="1052651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344800E-C269-EBBA-E7EA-94CA03684FEC}"/>
              </a:ext>
            </a:extLst>
          </p:cNvPr>
          <p:cNvCxnSpPr>
            <a:cxnSpLocks/>
          </p:cNvCxnSpPr>
          <p:nvPr/>
        </p:nvCxnSpPr>
        <p:spPr>
          <a:xfrm flipH="1">
            <a:off x="9999364" y="3032926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496DC4D-0362-7874-8539-6AEF66C412AF}"/>
              </a:ext>
            </a:extLst>
          </p:cNvPr>
          <p:cNvSpPr txBox="1"/>
          <p:nvPr/>
        </p:nvSpPr>
        <p:spPr>
          <a:xfrm>
            <a:off x="10250881" y="2754048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x:102,y:206..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99484C2-9170-CDCF-B337-B3EE4FB3BA52}"/>
              </a:ext>
            </a:extLst>
          </p:cNvPr>
          <p:cNvSpPr/>
          <p:nvPr/>
        </p:nvSpPr>
        <p:spPr>
          <a:xfrm>
            <a:off x="6258707" y="3975559"/>
            <a:ext cx="1584176" cy="1224136"/>
          </a:xfrm>
          <a:custGeom>
            <a:avLst/>
            <a:gdLst>
              <a:gd name="connsiteX0" fmla="*/ 0 w 1584176"/>
              <a:gd name="connsiteY0" fmla="*/ 204027 h 1224136"/>
              <a:gd name="connsiteX1" fmla="*/ 204027 w 1584176"/>
              <a:gd name="connsiteY1" fmla="*/ 0 h 1224136"/>
              <a:gd name="connsiteX2" fmla="*/ 815610 w 1584176"/>
              <a:gd name="connsiteY2" fmla="*/ 0 h 1224136"/>
              <a:gd name="connsiteX3" fmla="*/ 1380149 w 1584176"/>
              <a:gd name="connsiteY3" fmla="*/ 0 h 1224136"/>
              <a:gd name="connsiteX4" fmla="*/ 1584176 w 1584176"/>
              <a:gd name="connsiteY4" fmla="*/ 204027 h 1224136"/>
              <a:gd name="connsiteX5" fmla="*/ 1584176 w 1584176"/>
              <a:gd name="connsiteY5" fmla="*/ 595746 h 1224136"/>
              <a:gd name="connsiteX6" fmla="*/ 1584176 w 1584176"/>
              <a:gd name="connsiteY6" fmla="*/ 1020109 h 1224136"/>
              <a:gd name="connsiteX7" fmla="*/ 1380149 w 1584176"/>
              <a:gd name="connsiteY7" fmla="*/ 1224136 h 1224136"/>
              <a:gd name="connsiteX8" fmla="*/ 815610 w 1584176"/>
              <a:gd name="connsiteY8" fmla="*/ 1224136 h 1224136"/>
              <a:gd name="connsiteX9" fmla="*/ 204027 w 1584176"/>
              <a:gd name="connsiteY9" fmla="*/ 1224136 h 1224136"/>
              <a:gd name="connsiteX10" fmla="*/ 0 w 1584176"/>
              <a:gd name="connsiteY10" fmla="*/ 1020109 h 1224136"/>
              <a:gd name="connsiteX11" fmla="*/ 0 w 1584176"/>
              <a:gd name="connsiteY11" fmla="*/ 636550 h 1224136"/>
              <a:gd name="connsiteX12" fmla="*/ 0 w 1584176"/>
              <a:gd name="connsiteY12" fmla="*/ 204027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84176" h="1224136" extrusionOk="0">
                <a:moveTo>
                  <a:pt x="0" y="204027"/>
                </a:moveTo>
                <a:cubicBezTo>
                  <a:pt x="-18516" y="79925"/>
                  <a:pt x="75276" y="6031"/>
                  <a:pt x="204027" y="0"/>
                </a:cubicBezTo>
                <a:cubicBezTo>
                  <a:pt x="349409" y="-8983"/>
                  <a:pt x="683563" y="-25435"/>
                  <a:pt x="815610" y="0"/>
                </a:cubicBezTo>
                <a:cubicBezTo>
                  <a:pt x="947657" y="25435"/>
                  <a:pt x="1182979" y="10755"/>
                  <a:pt x="1380149" y="0"/>
                </a:cubicBezTo>
                <a:cubicBezTo>
                  <a:pt x="1468823" y="-13135"/>
                  <a:pt x="1593736" y="95914"/>
                  <a:pt x="1584176" y="204027"/>
                </a:cubicBezTo>
                <a:cubicBezTo>
                  <a:pt x="1572662" y="354510"/>
                  <a:pt x="1565965" y="496564"/>
                  <a:pt x="1584176" y="595746"/>
                </a:cubicBezTo>
                <a:cubicBezTo>
                  <a:pt x="1602387" y="694928"/>
                  <a:pt x="1603813" y="874359"/>
                  <a:pt x="1584176" y="1020109"/>
                </a:cubicBezTo>
                <a:cubicBezTo>
                  <a:pt x="1583863" y="1129803"/>
                  <a:pt x="1479201" y="1243076"/>
                  <a:pt x="1380149" y="1224136"/>
                </a:cubicBezTo>
                <a:cubicBezTo>
                  <a:pt x="1107627" y="1250131"/>
                  <a:pt x="1006674" y="1219977"/>
                  <a:pt x="815610" y="1224136"/>
                </a:cubicBezTo>
                <a:cubicBezTo>
                  <a:pt x="624546" y="1228295"/>
                  <a:pt x="400996" y="1220064"/>
                  <a:pt x="204027" y="1224136"/>
                </a:cubicBezTo>
                <a:cubicBezTo>
                  <a:pt x="93200" y="1226896"/>
                  <a:pt x="865" y="1141751"/>
                  <a:pt x="0" y="1020109"/>
                </a:cubicBezTo>
                <a:cubicBezTo>
                  <a:pt x="12259" y="842569"/>
                  <a:pt x="15067" y="717255"/>
                  <a:pt x="0" y="636550"/>
                </a:cubicBezTo>
                <a:cubicBezTo>
                  <a:pt x="-15067" y="555845"/>
                  <a:pt x="8666" y="310839"/>
                  <a:pt x="0" y="204027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sysDash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05F7B86-A9FF-2BFB-8AF3-65E628399ABC}"/>
              </a:ext>
            </a:extLst>
          </p:cNvPr>
          <p:cNvSpPr txBox="1"/>
          <p:nvPr/>
        </p:nvSpPr>
        <p:spPr>
          <a:xfrm>
            <a:off x="6402723" y="4191583"/>
            <a:ext cx="1296144" cy="8863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x</a:t>
            </a:r>
            <a:r>
              <a:rPr lang="de-DE" dirty="0"/>
              <a:t>:102</a:t>
            </a:r>
          </a:p>
          <a:p>
            <a:pPr marL="0" indent="0">
              <a:buNone/>
            </a:pPr>
            <a:r>
              <a:rPr lang="de-DE" dirty="0"/>
              <a:t>y:206</a:t>
            </a:r>
          </a:p>
          <a:p>
            <a:pPr marL="0" indent="0">
              <a:buNone/>
            </a:pPr>
            <a:r>
              <a:rPr lang="de-DE" dirty="0"/>
              <a:t>direction:1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E22F8FE-6615-A638-1DCB-BADAE0B23461}"/>
              </a:ext>
            </a:extLst>
          </p:cNvPr>
          <p:cNvCxnSpPr>
            <a:cxnSpLocks/>
          </p:cNvCxnSpPr>
          <p:nvPr/>
        </p:nvCxnSpPr>
        <p:spPr>
          <a:xfrm>
            <a:off x="1775520" y="3429000"/>
            <a:ext cx="4627203" cy="384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86F63A56-07C8-A630-6795-9567A632812D}"/>
              </a:ext>
            </a:extLst>
          </p:cNvPr>
          <p:cNvSpPr txBox="1"/>
          <p:nvPr/>
        </p:nvSpPr>
        <p:spPr>
          <a:xfrm>
            <a:off x="6618747" y="3693649"/>
            <a:ext cx="1080120" cy="179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/>
              <a:t>coords</a:t>
            </a:r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51E85F0-C584-25CF-F822-A86ABD463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3138" y="4700631"/>
            <a:ext cx="2039901" cy="10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7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e rufen </a:t>
            </a:r>
            <a:r>
              <a:rPr lang="de-DE" dirty="0">
                <a:hlinkClick r:id="rId2"/>
              </a:rPr>
              <a:t>www.vkb.de</a:t>
            </a:r>
            <a:r>
              <a:rPr lang="de-DE" dirty="0"/>
              <a:t> auf … was passiert?</a:t>
            </a:r>
            <a:endParaRPr lang="de-DE" sz="2133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5" y="1398259"/>
            <a:ext cx="9025945" cy="546281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gray">
          <a:xfrm>
            <a:off x="3119669" y="1508787"/>
            <a:ext cx="6624736" cy="5184576"/>
          </a:xfrm>
          <a:prstGeom prst="rect">
            <a:avLst/>
          </a:prstGeom>
          <a:solidFill>
            <a:schemeClr val="bg2">
              <a:alpha val="99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 defTabSz="1015975">
              <a:spcBef>
                <a:spcPts val="1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de-DE" sz="2133" dirty="0" err="1"/>
          </a:p>
        </p:txBody>
      </p:sp>
    </p:spTree>
    <p:extLst>
      <p:ext uri="{BB962C8B-B14F-4D97-AF65-F5344CB8AC3E}">
        <p14:creationId xmlns:p14="http://schemas.microsoft.com/office/powerpoint/2010/main" val="12658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Aufruf ein Weg …? Wie kommen die Daten ans Ziel?</a:t>
            </a:r>
            <a:endParaRPr lang="de-DE" sz="2133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5" y="1398259"/>
            <a:ext cx="9025945" cy="5462813"/>
          </a:xfrm>
          <a:prstGeom prst="rect">
            <a:avLst/>
          </a:prstGeom>
        </p:spPr>
      </p:pic>
      <p:cxnSp>
        <p:nvCxnSpPr>
          <p:cNvPr id="6" name="Gerade Verbindung mit Pfeil 5"/>
          <p:cNvCxnSpPr/>
          <p:nvPr/>
        </p:nvCxnSpPr>
        <p:spPr bwMode="auto">
          <a:xfrm flipV="1">
            <a:off x="4463819" y="4677139"/>
            <a:ext cx="576064" cy="576064"/>
          </a:xfrm>
          <a:prstGeom prst="straightConnector1">
            <a:avLst/>
          </a:prstGeom>
          <a:noFill/>
          <a:ln w="130175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Gerade Verbindung mit Pfeil 7"/>
          <p:cNvCxnSpPr/>
          <p:nvPr/>
        </p:nvCxnSpPr>
        <p:spPr bwMode="auto">
          <a:xfrm>
            <a:off x="4463819" y="5253203"/>
            <a:ext cx="288032" cy="864096"/>
          </a:xfrm>
          <a:prstGeom prst="straightConnector1">
            <a:avLst/>
          </a:prstGeom>
          <a:noFill/>
          <a:ln w="130175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54954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FDE9CE-C2AC-37F4-89C0-8F89132F2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rmaler Ablauf einer Anfrage im W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390481-5213-8790-8D22-D8540463B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4</a:t>
            </a:fld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BB427C0-4588-5853-F68A-81F2D29C84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2496" y="2863114"/>
            <a:ext cx="1131771" cy="113177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5606109-6F42-CEE9-4536-FF3404F87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99" y="2842013"/>
            <a:ext cx="1052651" cy="105265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1A672B6-ED03-482E-B05F-E3649DBDD5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5514" y="2092983"/>
            <a:ext cx="552100" cy="5521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44F6CB0-4AA3-AA82-B7CA-A9F8C397F5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0845" t="19530" r="31800" b="18548"/>
          <a:stretch/>
        </p:blipFill>
        <p:spPr>
          <a:xfrm>
            <a:off x="4244791" y="2984095"/>
            <a:ext cx="894532" cy="98682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9FF1F34-9C24-493E-AB1D-E929EB20026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0845" t="19530" r="31800" b="18548"/>
          <a:stretch/>
        </p:blipFill>
        <p:spPr>
          <a:xfrm>
            <a:off x="7416109" y="2935587"/>
            <a:ext cx="894532" cy="98682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212C9A5-2BDF-FD04-0EE0-D5C6BEA9BEA3}"/>
              </a:ext>
            </a:extLst>
          </p:cNvPr>
          <p:cNvSpPr txBox="1"/>
          <p:nvPr/>
        </p:nvSpPr>
        <p:spPr>
          <a:xfrm>
            <a:off x="4192950" y="2399634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sz="1800" dirty="0">
                <a:solidFill>
                  <a:schemeClr val="accent2"/>
                </a:solidFill>
              </a:rPr>
              <a:t>Webserver</a:t>
            </a:r>
            <a:br>
              <a:rPr lang="de-DE" sz="18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(Frontend)</a:t>
            </a:r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89AB1A7-0102-AB83-F524-EA20726BEE16}"/>
              </a:ext>
            </a:extLst>
          </p:cNvPr>
          <p:cNvSpPr txBox="1"/>
          <p:nvPr/>
        </p:nvSpPr>
        <p:spPr>
          <a:xfrm>
            <a:off x="830019" y="2369033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DU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B73F887-A788-8832-15A4-66CA6C108FD2}"/>
              </a:ext>
            </a:extLst>
          </p:cNvPr>
          <p:cNvSpPr txBox="1"/>
          <p:nvPr/>
        </p:nvSpPr>
        <p:spPr>
          <a:xfrm>
            <a:off x="2300575" y="1850419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Interne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A746195-98CF-F5A7-0909-1D0AC2CE1A03}"/>
              </a:ext>
            </a:extLst>
          </p:cNvPr>
          <p:cNvSpPr txBox="1"/>
          <p:nvPr/>
        </p:nvSpPr>
        <p:spPr>
          <a:xfrm>
            <a:off x="7416109" y="2365166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Backend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23FA8B6-C841-326E-CDF4-CAE48D65206E}"/>
              </a:ext>
            </a:extLst>
          </p:cNvPr>
          <p:cNvSpPr txBox="1"/>
          <p:nvPr/>
        </p:nvSpPr>
        <p:spPr>
          <a:xfrm>
            <a:off x="10365471" y="2359956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Datenbank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BF990BE-5B17-652C-A2CF-BFA64B8FC30F}"/>
              </a:ext>
            </a:extLst>
          </p:cNvPr>
          <p:cNvCxnSpPr>
            <a:cxnSpLocks/>
          </p:cNvCxnSpPr>
          <p:nvPr/>
        </p:nvCxnSpPr>
        <p:spPr>
          <a:xfrm>
            <a:off x="1567050" y="3139529"/>
            <a:ext cx="263532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D444B3F3-0DE5-A952-42FE-60366BF4A65C}"/>
              </a:ext>
            </a:extLst>
          </p:cNvPr>
          <p:cNvSpPr txBox="1"/>
          <p:nvPr/>
        </p:nvSpPr>
        <p:spPr>
          <a:xfrm>
            <a:off x="2319761" y="286311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Client Request (URL)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s://www.vkb.de/kunde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7D7A73C-3C95-CBCF-CA2D-2CAEDE3D0331}"/>
              </a:ext>
            </a:extLst>
          </p:cNvPr>
          <p:cNvCxnSpPr>
            <a:cxnSpLocks/>
          </p:cNvCxnSpPr>
          <p:nvPr/>
        </p:nvCxnSpPr>
        <p:spPr>
          <a:xfrm>
            <a:off x="5255028" y="3139529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9219C00D-7EDA-4C8E-96A7-B5114975B76D}"/>
              </a:ext>
            </a:extLst>
          </p:cNvPr>
          <p:cNvSpPr txBox="1"/>
          <p:nvPr/>
        </p:nvSpPr>
        <p:spPr>
          <a:xfrm>
            <a:off x="5531353" y="2853225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REST-Call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s://..</a:t>
            </a:r>
            <a:r>
              <a:rPr lang="de-DE" sz="1400" dirty="0" err="1">
                <a:solidFill>
                  <a:schemeClr val="accent1"/>
                </a:solidFill>
              </a:rPr>
              <a:t>getID</a:t>
            </a:r>
            <a:r>
              <a:rPr lang="de-DE" sz="1400" dirty="0">
                <a:solidFill>
                  <a:schemeClr val="accent1"/>
                </a:solidFill>
              </a:rPr>
              <a:t>/1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6607B67-AF88-80B8-CCD8-4265282B90D8}"/>
              </a:ext>
            </a:extLst>
          </p:cNvPr>
          <p:cNvCxnSpPr>
            <a:cxnSpLocks/>
          </p:cNvCxnSpPr>
          <p:nvPr/>
        </p:nvCxnSpPr>
        <p:spPr>
          <a:xfrm>
            <a:off x="8333882" y="3121355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3B673038-5696-E2CB-C6EC-FC5BB565C968}"/>
              </a:ext>
            </a:extLst>
          </p:cNvPr>
          <p:cNvSpPr txBox="1"/>
          <p:nvPr/>
        </p:nvSpPr>
        <p:spPr>
          <a:xfrm>
            <a:off x="8610207" y="2835051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SQL-Abfrage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SELECT * FROM </a:t>
            </a:r>
            <a:r>
              <a:rPr lang="de-DE" sz="1400" dirty="0" err="1">
                <a:solidFill>
                  <a:schemeClr val="accent1"/>
                </a:solidFill>
              </a:rPr>
              <a:t>Cust</a:t>
            </a:r>
            <a:r>
              <a:rPr lang="de-DE" sz="1400" dirty="0">
                <a:solidFill>
                  <a:schemeClr val="accent1"/>
                </a:solidFill>
              </a:rPr>
              <a:t>…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8BE39747-4C4C-D714-FEFD-64B51187FC5B}"/>
              </a:ext>
            </a:extLst>
          </p:cNvPr>
          <p:cNvCxnSpPr>
            <a:cxnSpLocks/>
          </p:cNvCxnSpPr>
          <p:nvPr/>
        </p:nvCxnSpPr>
        <p:spPr>
          <a:xfrm flipH="1">
            <a:off x="8333882" y="3749451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5CD203E-8898-AD60-8FB7-5DF9526D91F4}"/>
              </a:ext>
            </a:extLst>
          </p:cNvPr>
          <p:cNvSpPr txBox="1"/>
          <p:nvPr/>
        </p:nvSpPr>
        <p:spPr>
          <a:xfrm>
            <a:off x="8589801" y="3465213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 err="1">
                <a:solidFill>
                  <a:schemeClr val="accent1"/>
                </a:solidFill>
              </a:rPr>
              <a:t>Resultset</a:t>
            </a:r>
            <a:endParaRPr lang="de-DE" dirty="0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1, Meier,…, München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C1FD6055-A267-2B60-5254-9FB6EF155B15}"/>
              </a:ext>
            </a:extLst>
          </p:cNvPr>
          <p:cNvCxnSpPr>
            <a:cxnSpLocks/>
          </p:cNvCxnSpPr>
          <p:nvPr/>
        </p:nvCxnSpPr>
        <p:spPr>
          <a:xfrm flipH="1">
            <a:off x="5235533" y="3816563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B56A3E6-8280-5E71-43ED-C05F7763FEE5}"/>
              </a:ext>
            </a:extLst>
          </p:cNvPr>
          <p:cNvSpPr txBox="1"/>
          <p:nvPr/>
        </p:nvSpPr>
        <p:spPr>
          <a:xfrm>
            <a:off x="5487050" y="3537685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</a:t>
            </a:r>
            <a:r>
              <a:rPr lang="de-DE" sz="1400" dirty="0" err="1">
                <a:solidFill>
                  <a:schemeClr val="accent1"/>
                </a:solidFill>
              </a:rPr>
              <a:t>name</a:t>
            </a:r>
            <a:r>
              <a:rPr lang="de-DE" sz="1400" dirty="0">
                <a:solidFill>
                  <a:schemeClr val="accent1"/>
                </a:solidFill>
              </a:rPr>
              <a:t>:“Meier“,…}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EFBFBE1E-41A8-37AD-190B-8420047C644D}"/>
              </a:ext>
            </a:extLst>
          </p:cNvPr>
          <p:cNvCxnSpPr>
            <a:cxnSpLocks/>
          </p:cNvCxnSpPr>
          <p:nvPr/>
        </p:nvCxnSpPr>
        <p:spPr>
          <a:xfrm flipH="1">
            <a:off x="1717185" y="3816563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E5133E57-BA09-0B7A-0C0A-48E1E3770B25}"/>
              </a:ext>
            </a:extLst>
          </p:cNvPr>
          <p:cNvSpPr txBox="1"/>
          <p:nvPr/>
        </p:nvSpPr>
        <p:spPr>
          <a:xfrm>
            <a:off x="2012543" y="3537685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Server-Response</a:t>
            </a:r>
          </a:p>
          <a:p>
            <a:pPr marL="0" indent="0" algn="ctr">
              <a:buNone/>
            </a:pPr>
            <a:r>
              <a:rPr lang="de-DE" sz="1400" dirty="0" err="1">
                <a:solidFill>
                  <a:schemeClr val="accent1"/>
                </a:solidFill>
              </a:rPr>
              <a:t>Html</a:t>
            </a:r>
            <a:r>
              <a:rPr lang="de-DE" sz="1400" dirty="0">
                <a:solidFill>
                  <a:schemeClr val="accent1"/>
                </a:solidFill>
              </a:rPr>
              <a:t>-Seite 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oder bspw. 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</a:t>
            </a:r>
            <a:r>
              <a:rPr lang="de-DE" sz="1400" dirty="0" err="1">
                <a:solidFill>
                  <a:schemeClr val="accent1"/>
                </a:solidFill>
              </a:rPr>
              <a:t>name</a:t>
            </a:r>
            <a:r>
              <a:rPr lang="de-DE" sz="1400" dirty="0">
                <a:solidFill>
                  <a:schemeClr val="accent1"/>
                </a:solidFill>
              </a:rPr>
              <a:t>:“Meier“,…}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4C498C81-3313-AF59-3F56-9918F9651D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9659" y="4360572"/>
            <a:ext cx="1242024" cy="514374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8AF8E88-C490-CAEE-791A-885BC4BFE7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6802" y="4336815"/>
            <a:ext cx="1123472" cy="393861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C5FB8430-3196-9EFA-3797-A4BAA43DC5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71756" y="4336815"/>
            <a:ext cx="1390650" cy="676275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1794BADA-4DC9-1439-B1C1-01800B2271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498" y="4112268"/>
            <a:ext cx="939552" cy="658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04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  <p:bldP spid="22" grpId="0"/>
      <p:bldP spid="27" grpId="0"/>
      <p:bldP spid="29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FDE9CE-C2AC-37F4-89C0-8F89132F2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ter Ablauf einer Anfrage im W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390481-5213-8790-8D22-D8540463B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5</a:t>
            </a:fld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BB427C0-4588-5853-F68A-81F2D29C84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9804" y="1987942"/>
            <a:ext cx="1131771" cy="113177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5606109-6F42-CEE9-4536-FF3404F87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707" y="1966841"/>
            <a:ext cx="1052651" cy="105265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44F6CB0-4AA3-AA82-B7CA-A9F8C397F5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845" t="19530" r="31800" b="18548"/>
          <a:stretch/>
        </p:blipFill>
        <p:spPr>
          <a:xfrm>
            <a:off x="3992099" y="2108923"/>
            <a:ext cx="894532" cy="98682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9FF1F34-9C24-493E-AB1D-E929EB20026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845" t="19530" r="31800" b="18548"/>
          <a:stretch/>
        </p:blipFill>
        <p:spPr>
          <a:xfrm>
            <a:off x="7163417" y="2060415"/>
            <a:ext cx="894532" cy="98682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212C9A5-2BDF-FD04-0EE0-D5C6BEA9BEA3}"/>
              </a:ext>
            </a:extLst>
          </p:cNvPr>
          <p:cNvSpPr txBox="1"/>
          <p:nvPr/>
        </p:nvSpPr>
        <p:spPr>
          <a:xfrm>
            <a:off x="3940258" y="1524462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sz="1800" dirty="0">
                <a:solidFill>
                  <a:schemeClr val="accent2"/>
                </a:solidFill>
              </a:rPr>
              <a:t>Webserver</a:t>
            </a:r>
            <a:br>
              <a:rPr lang="de-DE" sz="18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(Frontend)</a:t>
            </a:r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89AB1A7-0102-AB83-F524-EA20726BEE16}"/>
              </a:ext>
            </a:extLst>
          </p:cNvPr>
          <p:cNvSpPr txBox="1"/>
          <p:nvPr/>
        </p:nvSpPr>
        <p:spPr>
          <a:xfrm>
            <a:off x="577327" y="1493861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DU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A746195-98CF-F5A7-0909-1D0AC2CE1A03}"/>
              </a:ext>
            </a:extLst>
          </p:cNvPr>
          <p:cNvSpPr txBox="1"/>
          <p:nvPr/>
        </p:nvSpPr>
        <p:spPr>
          <a:xfrm>
            <a:off x="7163417" y="1489994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Backend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23FA8B6-C841-326E-CDF4-CAE48D65206E}"/>
              </a:ext>
            </a:extLst>
          </p:cNvPr>
          <p:cNvSpPr txBox="1"/>
          <p:nvPr/>
        </p:nvSpPr>
        <p:spPr>
          <a:xfrm>
            <a:off x="10112779" y="1484784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Datenbank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6607B67-AF88-80B8-CCD8-4265282B90D8}"/>
              </a:ext>
            </a:extLst>
          </p:cNvPr>
          <p:cNvCxnSpPr>
            <a:cxnSpLocks/>
          </p:cNvCxnSpPr>
          <p:nvPr/>
        </p:nvCxnSpPr>
        <p:spPr>
          <a:xfrm>
            <a:off x="8081190" y="2246183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3B673038-5696-E2CB-C6EC-FC5BB565C968}"/>
              </a:ext>
            </a:extLst>
          </p:cNvPr>
          <p:cNvSpPr txBox="1"/>
          <p:nvPr/>
        </p:nvSpPr>
        <p:spPr>
          <a:xfrm>
            <a:off x="8357515" y="1959879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SQL-Abfrage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SELECT * FROM </a:t>
            </a:r>
            <a:r>
              <a:rPr lang="de-DE" sz="1400" dirty="0" err="1">
                <a:solidFill>
                  <a:schemeClr val="accent1"/>
                </a:solidFill>
              </a:rPr>
              <a:t>Cust</a:t>
            </a:r>
            <a:r>
              <a:rPr lang="de-DE" sz="1400" dirty="0">
                <a:solidFill>
                  <a:schemeClr val="accent1"/>
                </a:solidFill>
              </a:rPr>
              <a:t>…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8BE39747-4C4C-D714-FEFD-64B51187FC5B}"/>
              </a:ext>
            </a:extLst>
          </p:cNvPr>
          <p:cNvCxnSpPr>
            <a:cxnSpLocks/>
          </p:cNvCxnSpPr>
          <p:nvPr/>
        </p:nvCxnSpPr>
        <p:spPr>
          <a:xfrm flipH="1">
            <a:off x="8081190" y="2874279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5CD203E-8898-AD60-8FB7-5DF9526D91F4}"/>
              </a:ext>
            </a:extLst>
          </p:cNvPr>
          <p:cNvSpPr txBox="1"/>
          <p:nvPr/>
        </p:nvSpPr>
        <p:spPr>
          <a:xfrm>
            <a:off x="8337109" y="2590041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 err="1">
                <a:solidFill>
                  <a:schemeClr val="accent1"/>
                </a:solidFill>
              </a:rPr>
              <a:t>Resultset</a:t>
            </a:r>
            <a:endParaRPr lang="de-DE" dirty="0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1, Meier,…, München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C1FD6055-A267-2B60-5254-9FB6EF155B15}"/>
              </a:ext>
            </a:extLst>
          </p:cNvPr>
          <p:cNvCxnSpPr>
            <a:cxnSpLocks/>
          </p:cNvCxnSpPr>
          <p:nvPr/>
        </p:nvCxnSpPr>
        <p:spPr>
          <a:xfrm flipH="1">
            <a:off x="3569482" y="3141458"/>
            <a:ext cx="3861356" cy="27358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B56A3E6-8280-5E71-43ED-C05F7763FEE5}"/>
              </a:ext>
            </a:extLst>
          </p:cNvPr>
          <p:cNvSpPr txBox="1"/>
          <p:nvPr/>
        </p:nvSpPr>
        <p:spPr>
          <a:xfrm rot="19368065">
            <a:off x="4718498" y="4284581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</a:t>
            </a:r>
            <a:r>
              <a:rPr lang="de-DE" sz="1400" dirty="0" err="1">
                <a:solidFill>
                  <a:schemeClr val="accent1"/>
                </a:solidFill>
              </a:rPr>
              <a:t>name</a:t>
            </a:r>
            <a:r>
              <a:rPr lang="de-DE" sz="1400" dirty="0">
                <a:solidFill>
                  <a:schemeClr val="accent1"/>
                </a:solidFill>
              </a:rPr>
              <a:t>:“Meier“,…}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EFBFBE1E-41A8-37AD-190B-8420047C644D}"/>
              </a:ext>
            </a:extLst>
          </p:cNvPr>
          <p:cNvCxnSpPr>
            <a:cxnSpLocks/>
          </p:cNvCxnSpPr>
          <p:nvPr/>
        </p:nvCxnSpPr>
        <p:spPr>
          <a:xfrm flipH="1">
            <a:off x="1437897" y="2941391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4C498C81-3313-AF59-3F56-9918F9651D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46967" y="3485400"/>
            <a:ext cx="1242024" cy="51437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C5FB8430-3196-9EFA-3797-A4BAA43DC5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19064" y="3461643"/>
            <a:ext cx="1390650" cy="67627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07F690B-FF77-C5FD-1BC2-3C389408CD4F}"/>
              </a:ext>
            </a:extLst>
          </p:cNvPr>
          <p:cNvSpPr txBox="1"/>
          <p:nvPr/>
        </p:nvSpPr>
        <p:spPr>
          <a:xfrm>
            <a:off x="1643925" y="2633429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(2) </a:t>
            </a:r>
            <a:r>
              <a:rPr lang="de-DE" dirty="0" err="1">
                <a:solidFill>
                  <a:schemeClr val="accent1"/>
                </a:solidFill>
              </a:rPr>
              <a:t>Html</a:t>
            </a:r>
            <a:r>
              <a:rPr lang="de-DE" dirty="0">
                <a:solidFill>
                  <a:schemeClr val="accent1"/>
                </a:solidFill>
              </a:rPr>
              <a:t>-Seite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Mit </a:t>
            </a:r>
            <a:r>
              <a:rPr lang="de-DE" sz="1400" dirty="0" err="1">
                <a:solidFill>
                  <a:schemeClr val="accent1"/>
                </a:solidFill>
              </a:rPr>
              <a:t>Javascript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4AF2662-DF42-02AD-E111-9B8A4B79591D}"/>
              </a:ext>
            </a:extLst>
          </p:cNvPr>
          <p:cNvSpPr txBox="1"/>
          <p:nvPr/>
        </p:nvSpPr>
        <p:spPr>
          <a:xfrm>
            <a:off x="3881535" y="314145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200" dirty="0"/>
              <a:t>http://localhost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4FF99FDB-DF01-D540-F2C8-AC3B5FC965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2282" y="3485400"/>
            <a:ext cx="2118569" cy="2824759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7BF8C77-F570-448E-7239-16333704C749}"/>
              </a:ext>
            </a:extLst>
          </p:cNvPr>
          <p:cNvSpPr txBox="1"/>
          <p:nvPr/>
        </p:nvSpPr>
        <p:spPr>
          <a:xfrm>
            <a:off x="1691627" y="490693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2"/>
                </a:solidFill>
              </a:rPr>
              <a:t>Seite enthält </a:t>
            </a:r>
          </a:p>
          <a:p>
            <a:pPr marL="0" indent="0" algn="ctr">
              <a:buNone/>
            </a:pPr>
            <a:r>
              <a:rPr lang="de-DE" dirty="0" err="1">
                <a:solidFill>
                  <a:schemeClr val="accent2"/>
                </a:solidFill>
              </a:rPr>
              <a:t>Javascript</a:t>
            </a:r>
            <a:r>
              <a:rPr lang="de-DE" dirty="0">
                <a:solidFill>
                  <a:schemeClr val="accent2"/>
                </a:solidFill>
              </a:rPr>
              <a:t>-Code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733685F5-0AF3-B04E-4EDF-FB679374580A}"/>
              </a:ext>
            </a:extLst>
          </p:cNvPr>
          <p:cNvCxnSpPr>
            <a:cxnSpLocks/>
          </p:cNvCxnSpPr>
          <p:nvPr/>
        </p:nvCxnSpPr>
        <p:spPr>
          <a:xfrm>
            <a:off x="1272717" y="2284600"/>
            <a:ext cx="263532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235688B3-51AE-A5A7-4440-4CE4479EA5AD}"/>
              </a:ext>
            </a:extLst>
          </p:cNvPr>
          <p:cNvSpPr txBox="1"/>
          <p:nvPr/>
        </p:nvSpPr>
        <p:spPr>
          <a:xfrm>
            <a:off x="2025428" y="200818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(1) Client Request (URL)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://localhost/index.html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8A62B996-450E-6E50-E69C-67E54ABA614C}"/>
              </a:ext>
            </a:extLst>
          </p:cNvPr>
          <p:cNvCxnSpPr>
            <a:cxnSpLocks/>
          </p:cNvCxnSpPr>
          <p:nvPr/>
        </p:nvCxnSpPr>
        <p:spPr>
          <a:xfrm flipV="1">
            <a:off x="3506815" y="2701285"/>
            <a:ext cx="3299393" cy="23146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A29DCA09-1B63-04E9-79BA-74915FAD177A}"/>
              </a:ext>
            </a:extLst>
          </p:cNvPr>
          <p:cNvSpPr txBox="1"/>
          <p:nvPr/>
        </p:nvSpPr>
        <p:spPr>
          <a:xfrm rot="19554961">
            <a:off x="4170237" y="3790455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(3) REST-Call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s://..</a:t>
            </a:r>
            <a:r>
              <a:rPr lang="de-DE" sz="1400" dirty="0" err="1">
                <a:solidFill>
                  <a:schemeClr val="accent1"/>
                </a:solidFill>
              </a:rPr>
              <a:t>getID</a:t>
            </a:r>
            <a:r>
              <a:rPr lang="de-DE" sz="1400" dirty="0">
                <a:solidFill>
                  <a:schemeClr val="accent1"/>
                </a:solidFill>
              </a:rPr>
              <a:t>/1</a:t>
            </a:r>
          </a:p>
        </p:txBody>
      </p:sp>
    </p:spTree>
    <p:extLst>
      <p:ext uri="{BB962C8B-B14F-4D97-AF65-F5344CB8AC3E}">
        <p14:creationId xmlns:p14="http://schemas.microsoft.com/office/powerpoint/2010/main" val="2544542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7" grpId="0"/>
      <p:bldP spid="29" grpId="0"/>
      <p:bldP spid="6" grpId="0"/>
      <p:bldP spid="30" grpId="0"/>
      <p:bldP spid="3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Aufruf im Fronte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254660-7BF4-5065-4DAA-31FE492102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0000" y="1608000"/>
            <a:ext cx="8640000" cy="52485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Javascript</a:t>
            </a:r>
            <a:r>
              <a:rPr lang="de-DE" dirty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3A4378C-F8E5-5BDD-8B44-FED29E78AAB3}"/>
              </a:ext>
            </a:extLst>
          </p:cNvPr>
          <p:cNvSpPr txBox="1"/>
          <p:nvPr/>
        </p:nvSpPr>
        <p:spPr>
          <a:xfrm>
            <a:off x="239349" y="2517397"/>
            <a:ext cx="10369152" cy="23042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le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= 1;</a:t>
            </a:r>
          </a:p>
          <a:p>
            <a:pPr marL="0" indent="0">
              <a:buNone/>
            </a:pP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fun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moveImageBackend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 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x =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mage.offsetLef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 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y =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mage.offsetTop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 </a:t>
            </a: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b="0" dirty="0" err="1">
                <a:effectLst/>
                <a:latin typeface="Consolas" panose="020B0609020204030204" pitchFamily="49" charset="0"/>
              </a:rPr>
              <a:t>fetch</a:t>
            </a:r>
            <a:r>
              <a:rPr lang="de-DE" b="0" dirty="0">
                <a:effectLst/>
                <a:latin typeface="Consolas" panose="020B0609020204030204" pitchFamily="49" charset="0"/>
              </a:rPr>
              <a:t>("http://localhost:8080/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getCoords?x</a:t>
            </a:r>
            <a:r>
              <a:rPr lang="de-DE" b="0" dirty="0">
                <a:effectLst/>
                <a:latin typeface="Consolas" panose="020B0609020204030204" pitchFamily="49" charset="0"/>
              </a:rPr>
              <a:t>=" + x + "&amp;y=" + y + "&amp;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effectLst/>
                <a:latin typeface="Consolas" panose="020B0609020204030204" pitchFamily="49" charset="0"/>
              </a:rPr>
              <a:t>="+ </a:t>
            </a:r>
            <a:r>
              <a:rPr lang="de-DE" b="0" dirty="0" err="1"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effectLst/>
                <a:latin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de-DE" b="0" dirty="0"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response.js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) =&gt; {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left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image.style.top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y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+ "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"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coords.direction</a:t>
            </a: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65000"/>
                  </a:schemeClr>
                </a:solidFill>
                <a:effectLst/>
                <a:latin typeface="Consolas" panose="020B0609020204030204" pitchFamily="49" charset="0"/>
              </a:rPr>
              <a:t>    });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C184011-58D4-0AFC-513E-6952F8E9A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07459"/>
            <a:ext cx="1052651" cy="105265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5FFD37A-312E-A5C4-0193-87349C52E52A}"/>
              </a:ext>
            </a:extLst>
          </p:cNvPr>
          <p:cNvSpPr txBox="1"/>
          <p:nvPr/>
        </p:nvSpPr>
        <p:spPr>
          <a:xfrm>
            <a:off x="4117184" y="3754820"/>
            <a:ext cx="6120680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http://localhost:8080/getCoords?x=101&amp;y=205&amp;direction=1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8317D46-4268-A8C6-E2CA-516C1A8B158D}"/>
              </a:ext>
            </a:extLst>
          </p:cNvPr>
          <p:cNvSpPr txBox="1"/>
          <p:nvPr/>
        </p:nvSpPr>
        <p:spPr>
          <a:xfrm>
            <a:off x="5881380" y="3296077"/>
            <a:ext cx="4079493" cy="524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Teste den Aufruf direkt im Browser …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AECA58D7-6476-5D7A-2A30-DF02CFE41806}"/>
              </a:ext>
            </a:extLst>
          </p:cNvPr>
          <p:cNvCxnSpPr>
            <a:cxnSpLocks/>
          </p:cNvCxnSpPr>
          <p:nvPr/>
        </p:nvCxnSpPr>
        <p:spPr>
          <a:xfrm>
            <a:off x="9935226" y="4229350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6A1BCA47-BD04-E9FA-6855-8ECDA08A5E39}"/>
              </a:ext>
            </a:extLst>
          </p:cNvPr>
          <p:cNvSpPr txBox="1"/>
          <p:nvPr/>
        </p:nvSpPr>
        <p:spPr>
          <a:xfrm>
            <a:off x="10211551" y="3943046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REST-Call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s://..</a:t>
            </a:r>
            <a:r>
              <a:rPr lang="de-DE" sz="1400" dirty="0" err="1">
                <a:solidFill>
                  <a:schemeClr val="accent1"/>
                </a:solidFill>
              </a:rPr>
              <a:t>getID</a:t>
            </a:r>
            <a:r>
              <a:rPr lang="de-DE" sz="1400" dirty="0">
                <a:solidFill>
                  <a:schemeClr val="accent1"/>
                </a:solidFill>
              </a:rPr>
              <a:t>/1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F2B8475-A4FD-E231-FDFB-2408BFE4A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9736" y="2998807"/>
            <a:ext cx="1199456" cy="594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89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Backen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7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698925E-E580-00C3-4D72-551D76186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49" y="2348880"/>
            <a:ext cx="3133725" cy="436245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21BBF027-E6E9-B96E-F1EC-ED3EB057AC1E}"/>
              </a:ext>
            </a:extLst>
          </p:cNvPr>
          <p:cNvSpPr/>
          <p:nvPr/>
        </p:nvSpPr>
        <p:spPr>
          <a:xfrm>
            <a:off x="1459778" y="4145848"/>
            <a:ext cx="936104" cy="288032"/>
          </a:xfrm>
          <a:prstGeom prst="rect">
            <a:avLst/>
          </a:prstGeom>
          <a:noFill/>
          <a:ln w="571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F345CD-835E-EBF3-0DE7-53D3C1904741}"/>
              </a:ext>
            </a:extLst>
          </p:cNvPr>
          <p:cNvSpPr txBox="1"/>
          <p:nvPr/>
        </p:nvSpPr>
        <p:spPr>
          <a:xfrm>
            <a:off x="3621897" y="27557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>
                <a:latin typeface="Consolas" panose="020B0609020204030204" pitchFamily="49" charset="0"/>
              </a:rPr>
              <a:t>public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lass</a:t>
            </a:r>
            <a:r>
              <a:rPr lang="de-DE" dirty="0">
                <a:latin typeface="Consolas" panose="020B0609020204030204" pitchFamily="49" charset="0"/>
              </a:rPr>
              <a:t> Controller {</a:t>
            </a: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private final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   private final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@GetMapping("/</a:t>
            </a:r>
            <a:r>
              <a:rPr lang="de-DE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</a:rPr>
              <a:t>getCoords</a:t>
            </a:r>
            <a:r>
              <a:rPr lang="de-DE" dirty="0">
                <a:latin typeface="Consolas" panose="020B0609020204030204" pitchFamily="49" charset="0"/>
              </a:rPr>
              <a:t>")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</a:t>
            </a:r>
            <a:r>
              <a:rPr lang="de-DE" dirty="0" err="1">
                <a:latin typeface="Consolas" panose="020B0609020204030204" pitchFamily="49" charset="0"/>
              </a:rPr>
              <a:t>public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oordinates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getCoords</a:t>
            </a:r>
            <a:r>
              <a:rPr lang="de-DE" dirty="0">
                <a:latin typeface="Consolas" panose="020B0609020204030204" pitchFamily="49" charset="0"/>
              </a:rPr>
              <a:t>(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>
                <a:solidFill>
                  <a:schemeClr val="accent1"/>
                </a:solidFill>
                <a:latin typeface="Consolas" panose="020B0609020204030204" pitchFamily="49" charset="0"/>
              </a:rPr>
              <a:t>x</a:t>
            </a:r>
            <a:r>
              <a:rPr lang="de-DE" dirty="0">
                <a:latin typeface="Consolas" panose="020B0609020204030204" pitchFamily="49" charset="0"/>
              </a:rPr>
              <a:t>, 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>
                <a:solidFill>
                  <a:schemeClr val="accent2"/>
                </a:solidFill>
                <a:latin typeface="Consolas" panose="020B0609020204030204" pitchFamily="49" charset="0"/>
              </a:rPr>
              <a:t>y</a:t>
            </a:r>
            <a:r>
              <a:rPr lang="de-DE" dirty="0">
                <a:latin typeface="Consolas" panose="020B0609020204030204" pitchFamily="49" charset="0"/>
              </a:rPr>
              <a:t>, </a:t>
            </a:r>
            <a:br>
              <a:rPr lang="de-DE" dirty="0">
                <a:latin typeface="Consolas" panose="020B0609020204030204" pitchFamily="49" charset="0"/>
              </a:rPr>
            </a:br>
            <a:r>
              <a:rPr lang="de-DE" dirty="0">
                <a:latin typeface="Consolas" panose="020B0609020204030204" pitchFamily="49" charset="0"/>
              </a:rPr>
              <a:t>                                 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    </a:t>
            </a:r>
            <a:r>
              <a:rPr lang="de-DE" dirty="0" err="1">
                <a:latin typeface="Consolas" panose="020B0609020204030204" pitchFamily="49" charset="0"/>
              </a:rPr>
              <a:t>return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oordinatesService.getCoords</a:t>
            </a:r>
            <a:r>
              <a:rPr lang="de-DE" dirty="0">
                <a:latin typeface="Consolas" panose="020B0609020204030204" pitchFamily="49" charset="0"/>
              </a:rPr>
              <a:t>(</a:t>
            </a:r>
            <a:r>
              <a:rPr lang="de-DE" dirty="0">
                <a:solidFill>
                  <a:schemeClr val="accent1"/>
                </a:solidFill>
                <a:latin typeface="Consolas" panose="020B0609020204030204" pitchFamily="49" charset="0"/>
              </a:rPr>
              <a:t>x</a:t>
            </a:r>
            <a:r>
              <a:rPr lang="de-DE" dirty="0">
                <a:latin typeface="Consolas" panose="020B0609020204030204" pitchFamily="49" charset="0"/>
              </a:rPr>
              <a:t>,</a:t>
            </a:r>
            <a:r>
              <a:rPr lang="de-DE" dirty="0">
                <a:solidFill>
                  <a:schemeClr val="accent2"/>
                </a:solidFill>
                <a:latin typeface="Consolas" panose="020B0609020204030204" pitchFamily="49" charset="0"/>
              </a:rPr>
              <a:t> y</a:t>
            </a:r>
            <a:r>
              <a:rPr lang="de-DE" dirty="0">
                <a:latin typeface="Consolas" panose="020B0609020204030204" pitchFamily="49" charset="0"/>
              </a:rPr>
              <a:t>, </a:t>
            </a:r>
            <a:r>
              <a:rPr lang="de-DE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0A087D3-D6B5-867A-C969-B652A1AEA825}"/>
              </a:ext>
            </a:extLst>
          </p:cNvPr>
          <p:cNvSpPr txBox="1"/>
          <p:nvPr/>
        </p:nvSpPr>
        <p:spPr>
          <a:xfrm>
            <a:off x="2135560" y="1588581"/>
            <a:ext cx="6120680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http://localhost:8080/</a:t>
            </a:r>
            <a:r>
              <a:rPr lang="de-DE" b="0" dirty="0">
                <a:solidFill>
                  <a:schemeClr val="bg2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getCoords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?</a:t>
            </a:r>
            <a:r>
              <a:rPr lang="de-DE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de-DE" b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101&amp;</a:t>
            </a:r>
            <a:r>
              <a:rPr lang="de-DE" b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y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205&amp;</a:t>
            </a:r>
            <a:r>
              <a:rPr lang="de-DE" b="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direction</a:t>
            </a: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=1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6CB36BBC-F015-8BE9-84D3-209C7A846DEB}"/>
              </a:ext>
            </a:extLst>
          </p:cNvPr>
          <p:cNvCxnSpPr>
            <a:cxnSpLocks/>
          </p:cNvCxnSpPr>
          <p:nvPr/>
        </p:nvCxnSpPr>
        <p:spPr>
          <a:xfrm>
            <a:off x="-95714" y="1720784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8F90EAEF-4680-2C53-15C5-4CFA39D00B1E}"/>
              </a:ext>
            </a:extLst>
          </p:cNvPr>
          <p:cNvSpPr txBox="1"/>
          <p:nvPr/>
        </p:nvSpPr>
        <p:spPr>
          <a:xfrm>
            <a:off x="180611" y="1434480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REST-Call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https://..</a:t>
            </a:r>
            <a:r>
              <a:rPr lang="de-DE" sz="1400" dirty="0" err="1">
                <a:solidFill>
                  <a:schemeClr val="accent1"/>
                </a:solidFill>
              </a:rPr>
              <a:t>getID</a:t>
            </a:r>
            <a:r>
              <a:rPr lang="de-DE" sz="1400" dirty="0">
                <a:solidFill>
                  <a:schemeClr val="accent1"/>
                </a:solidFill>
              </a:rPr>
              <a:t>/1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8E05E7E-5552-0411-F3E3-565921D350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845" t="19530" r="31800" b="18548"/>
          <a:stretch/>
        </p:blipFill>
        <p:spPr>
          <a:xfrm>
            <a:off x="10820710" y="650780"/>
            <a:ext cx="894532" cy="98682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DCB605F6-9491-46C3-A93B-41449AFAD33F}"/>
              </a:ext>
            </a:extLst>
          </p:cNvPr>
          <p:cNvSpPr txBox="1"/>
          <p:nvPr/>
        </p:nvSpPr>
        <p:spPr>
          <a:xfrm>
            <a:off x="10820710" y="256920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Backend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F7A3A97-F9DE-3FE5-6DD9-E4FC19E9505E}"/>
              </a:ext>
            </a:extLst>
          </p:cNvPr>
          <p:cNvSpPr txBox="1"/>
          <p:nvPr/>
        </p:nvSpPr>
        <p:spPr>
          <a:xfrm>
            <a:off x="3636238" y="27557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>
                <a:latin typeface="Consolas" panose="020B0609020204030204" pitchFamily="49" charset="0"/>
              </a:rPr>
              <a:t>public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lass</a:t>
            </a:r>
            <a:r>
              <a:rPr lang="de-DE" dirty="0">
                <a:latin typeface="Consolas" panose="020B0609020204030204" pitchFamily="49" charset="0"/>
              </a:rPr>
              <a:t> Controller {</a:t>
            </a: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private final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   private final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@GetMapping("/</a:t>
            </a:r>
            <a:r>
              <a:rPr lang="de-DE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</a:rPr>
              <a:t>getCoords</a:t>
            </a:r>
            <a:r>
              <a:rPr lang="de-DE" dirty="0">
                <a:latin typeface="Consolas" panose="020B0609020204030204" pitchFamily="49" charset="0"/>
              </a:rPr>
              <a:t>")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</a:t>
            </a:r>
            <a:r>
              <a:rPr lang="de-DE" dirty="0" err="1">
                <a:latin typeface="Consolas" panose="020B0609020204030204" pitchFamily="49" charset="0"/>
              </a:rPr>
              <a:t>public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oordinates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getCoords</a:t>
            </a:r>
            <a:r>
              <a:rPr lang="de-DE" dirty="0">
                <a:latin typeface="Consolas" panose="020B0609020204030204" pitchFamily="49" charset="0"/>
              </a:rPr>
              <a:t>(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>
                <a:solidFill>
                  <a:schemeClr val="accent1"/>
                </a:solidFill>
                <a:latin typeface="Consolas" panose="020B0609020204030204" pitchFamily="49" charset="0"/>
              </a:rPr>
              <a:t>x</a:t>
            </a:r>
            <a:r>
              <a:rPr lang="de-DE" dirty="0">
                <a:latin typeface="Consolas" panose="020B0609020204030204" pitchFamily="49" charset="0"/>
              </a:rPr>
              <a:t>, 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>
                <a:solidFill>
                  <a:schemeClr val="accent2"/>
                </a:solidFill>
                <a:latin typeface="Consolas" panose="020B0609020204030204" pitchFamily="49" charset="0"/>
              </a:rPr>
              <a:t>y</a:t>
            </a:r>
            <a:r>
              <a:rPr lang="de-DE" dirty="0">
                <a:latin typeface="Consolas" panose="020B0609020204030204" pitchFamily="49" charset="0"/>
              </a:rPr>
              <a:t>, </a:t>
            </a:r>
            <a:br>
              <a:rPr lang="de-DE" dirty="0">
                <a:latin typeface="Consolas" panose="020B0609020204030204" pitchFamily="49" charset="0"/>
              </a:rPr>
            </a:br>
            <a:r>
              <a:rPr lang="de-DE" dirty="0">
                <a:latin typeface="Consolas" panose="020B0609020204030204" pitchFamily="49" charset="0"/>
              </a:rPr>
              <a:t>                                 @RequestParam </a:t>
            </a:r>
            <a:r>
              <a:rPr lang="de-DE" dirty="0" err="1">
                <a:latin typeface="Consolas" panose="020B0609020204030204" pitchFamily="49" charset="0"/>
              </a:rPr>
              <a:t>in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    </a:t>
            </a:r>
            <a:r>
              <a:rPr lang="de-DE" dirty="0" err="1">
                <a:latin typeface="Consolas" panose="020B0609020204030204" pitchFamily="49" charset="0"/>
              </a:rPr>
              <a:t>return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sz="2000" dirty="0" err="1">
                <a:latin typeface="Consolas" panose="020B0609020204030204" pitchFamily="49" charset="0"/>
              </a:rPr>
              <a:t>coordinatesService.getCoords</a:t>
            </a:r>
            <a:r>
              <a:rPr lang="de-DE" sz="2000" dirty="0">
                <a:latin typeface="Consolas" panose="020B0609020204030204" pitchFamily="49" charset="0"/>
              </a:rPr>
              <a:t>(</a:t>
            </a:r>
            <a:r>
              <a:rPr lang="de-DE" sz="2000" dirty="0">
                <a:solidFill>
                  <a:schemeClr val="accent1"/>
                </a:solidFill>
                <a:latin typeface="Consolas" panose="020B0609020204030204" pitchFamily="49" charset="0"/>
              </a:rPr>
              <a:t>x</a:t>
            </a:r>
            <a:r>
              <a:rPr lang="de-DE" sz="2000" dirty="0">
                <a:latin typeface="Consolas" panose="020B0609020204030204" pitchFamily="49" charset="0"/>
              </a:rPr>
              <a:t>,</a:t>
            </a:r>
            <a:r>
              <a:rPr lang="de-DE" sz="2000" dirty="0">
                <a:solidFill>
                  <a:schemeClr val="accent2"/>
                </a:solidFill>
                <a:latin typeface="Consolas" panose="020B0609020204030204" pitchFamily="49" charset="0"/>
              </a:rPr>
              <a:t> y</a:t>
            </a:r>
            <a:r>
              <a:rPr lang="de-DE" sz="2000" dirty="0">
                <a:latin typeface="Consolas" panose="020B0609020204030204" pitchFamily="49" charset="0"/>
              </a:rPr>
              <a:t>, </a:t>
            </a:r>
            <a:r>
              <a:rPr lang="de-DE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sz="2000" dirty="0">
                <a:latin typeface="Consolas" panose="020B0609020204030204" pitchFamily="49" charset="0"/>
              </a:rPr>
              <a:t>);</a:t>
            </a:r>
            <a:endParaRPr lang="de-DE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103952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das Backend macht und tu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8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698925E-E580-00C3-4D72-551D76186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49" y="2348880"/>
            <a:ext cx="3133725" cy="436245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21BBF027-E6E9-B96E-F1EC-ED3EB057AC1E}"/>
              </a:ext>
            </a:extLst>
          </p:cNvPr>
          <p:cNvSpPr/>
          <p:nvPr/>
        </p:nvSpPr>
        <p:spPr>
          <a:xfrm flipV="1">
            <a:off x="1459778" y="5269417"/>
            <a:ext cx="1467870" cy="319821"/>
          </a:xfrm>
          <a:prstGeom prst="rect">
            <a:avLst/>
          </a:prstGeom>
          <a:noFill/>
          <a:ln w="571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F345CD-835E-EBF3-0DE7-53D3C1904741}"/>
              </a:ext>
            </a:extLst>
          </p:cNvPr>
          <p:cNvSpPr txBox="1"/>
          <p:nvPr/>
        </p:nvSpPr>
        <p:spPr>
          <a:xfrm>
            <a:off x="3621897" y="27557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public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b="1" dirty="0" err="1">
                <a:latin typeface="Consolas" panose="020B0609020204030204" pitchFamily="49" charset="0"/>
              </a:rPr>
              <a:t>Coordina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getCoord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x,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y,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</a:t>
            </a:r>
            <a:r>
              <a:rPr lang="de-DE" dirty="0" err="1">
                <a:latin typeface="Consolas" panose="020B0609020204030204" pitchFamily="49" charset="0"/>
              </a:rPr>
              <a:t>Coordinates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nextCoordinate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=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new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oordina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nextCoordinate.set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f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(x == 400 || y == 400) {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   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nextCoordinate.set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1)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}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….</a:t>
            </a:r>
          </a:p>
          <a:p>
            <a:pPr marL="0" indent="0">
              <a:buNone/>
            </a:pPr>
            <a:endParaRPr lang="de-DE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</a:t>
            </a:r>
            <a:r>
              <a:rPr lang="de-DE" dirty="0" err="1">
                <a:latin typeface="Consolas" panose="020B0609020204030204" pitchFamily="49" charset="0"/>
              </a:rPr>
              <a:t>return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b="1" dirty="0" err="1">
                <a:latin typeface="Consolas" panose="020B0609020204030204" pitchFamily="49" charset="0"/>
              </a:rPr>
              <a:t>nextCoordinate</a:t>
            </a:r>
            <a:r>
              <a:rPr lang="de-DE" dirty="0"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}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8E05E7E-5552-0411-F3E3-565921D350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845" t="19530" r="31800" b="18548"/>
          <a:stretch/>
        </p:blipFill>
        <p:spPr>
          <a:xfrm>
            <a:off x="10820710" y="650780"/>
            <a:ext cx="894532" cy="98682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DCB605F6-9491-46C3-A93B-41449AFAD33F}"/>
              </a:ext>
            </a:extLst>
          </p:cNvPr>
          <p:cNvSpPr txBox="1"/>
          <p:nvPr/>
        </p:nvSpPr>
        <p:spPr>
          <a:xfrm>
            <a:off x="10820710" y="256920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Backend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211597F-4848-F7C5-8564-539E387D6B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2344" y="4507698"/>
            <a:ext cx="2683595" cy="152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66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6806A6-6E61-677E-0DBF-F26DB78BB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blauf – Backend gibt zurück 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A59889-A551-7033-49B9-D53D40551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hangingPunct="0">
              <a:buClr>
                <a:schemeClr val="tx2"/>
              </a:buClr>
              <a:buFont typeface="Wingdings" pitchFamily="2" charset="2"/>
              <a:buNone/>
            </a:pPr>
            <a:r>
              <a:rPr lang="en-US"/>
              <a:t>Seite </a:t>
            </a:r>
            <a:fld id="{45C090B0-7756-4C50-9CCD-2BF334469C8D}" type="slidenum">
              <a:rPr lang="en-US" smtClean="0"/>
              <a:pPr eaLnBrk="0" hangingPunct="0">
                <a:buClr>
                  <a:schemeClr val="tx2"/>
                </a:buClr>
                <a:buFont typeface="Wingdings" pitchFamily="2" charset="2"/>
                <a:buNone/>
              </a:pPr>
              <a:t>9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698925E-E580-00C3-4D72-551D76186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49" y="2348880"/>
            <a:ext cx="3133725" cy="436245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21BBF027-E6E9-B96E-F1EC-ED3EB057AC1E}"/>
              </a:ext>
            </a:extLst>
          </p:cNvPr>
          <p:cNvSpPr/>
          <p:nvPr/>
        </p:nvSpPr>
        <p:spPr>
          <a:xfrm>
            <a:off x="1459778" y="4145848"/>
            <a:ext cx="936104" cy="288032"/>
          </a:xfrm>
          <a:prstGeom prst="rect">
            <a:avLst/>
          </a:prstGeom>
          <a:noFill/>
          <a:ln w="5715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F345CD-835E-EBF3-0DE7-53D3C1904741}"/>
              </a:ext>
            </a:extLst>
          </p:cNvPr>
          <p:cNvSpPr txBox="1"/>
          <p:nvPr/>
        </p:nvSpPr>
        <p:spPr>
          <a:xfrm>
            <a:off x="3677122" y="237764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public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las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Controller {</a:t>
            </a:r>
          </a:p>
          <a:p>
            <a:pPr marL="0" indent="0">
              <a:buNone/>
            </a:pPr>
            <a:endParaRPr lang="de-DE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private final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mouseInfoServic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private final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coordinatesServic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endParaRPr lang="de-DE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@GetMapping("/getCoords")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public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b="1" dirty="0" err="1">
                <a:latin typeface="Consolas" panose="020B0609020204030204" pitchFamily="49" charset="0"/>
              </a:rPr>
              <a:t>Coordina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getCoord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(@RequestParam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x, @RequestParam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y, </a:t>
            </a:r>
            <a:b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</a:b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                             @RequestParam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direction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de-DE" dirty="0">
                <a:latin typeface="Consolas" panose="020B0609020204030204" pitchFamily="49" charset="0"/>
              </a:rPr>
              <a:t>        </a:t>
            </a:r>
            <a:r>
              <a:rPr lang="de-DE" dirty="0" err="1">
                <a:latin typeface="Consolas" panose="020B0609020204030204" pitchFamily="49" charset="0"/>
              </a:rPr>
              <a:t>return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oordinatesService.getCoords</a:t>
            </a:r>
            <a:r>
              <a:rPr lang="de-DE" dirty="0">
                <a:latin typeface="Consolas" panose="020B0609020204030204" pitchFamily="49" charset="0"/>
              </a:rPr>
              <a:t>(x, y, </a:t>
            </a:r>
            <a:r>
              <a:rPr lang="de-DE" dirty="0" err="1">
                <a:latin typeface="Consolas" panose="020B0609020204030204" pitchFamily="49" charset="0"/>
              </a:rPr>
              <a:t>direction</a:t>
            </a:r>
            <a:r>
              <a:rPr lang="de-DE" dirty="0"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   }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8E05E7E-5552-0411-F3E3-565921D350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845" t="19530" r="31800" b="18548"/>
          <a:stretch/>
        </p:blipFill>
        <p:spPr>
          <a:xfrm>
            <a:off x="10820710" y="650780"/>
            <a:ext cx="894532" cy="98682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DCB605F6-9491-46C3-A93B-41449AFAD33F}"/>
              </a:ext>
            </a:extLst>
          </p:cNvPr>
          <p:cNvSpPr txBox="1"/>
          <p:nvPr/>
        </p:nvSpPr>
        <p:spPr>
          <a:xfrm>
            <a:off x="10820710" y="256920"/>
            <a:ext cx="1138683" cy="393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</a:rPr>
              <a:t>Backend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86DD0EED-3E46-A4DE-EBA5-B562FD035B16}"/>
              </a:ext>
            </a:extLst>
          </p:cNvPr>
          <p:cNvCxnSpPr>
            <a:cxnSpLocks/>
          </p:cNvCxnSpPr>
          <p:nvPr/>
        </p:nvCxnSpPr>
        <p:spPr>
          <a:xfrm flipH="1">
            <a:off x="-12168" y="1607847"/>
            <a:ext cx="208610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7EEFA1DD-C2A8-5EE6-CD5A-DDEC220EF010}"/>
              </a:ext>
            </a:extLst>
          </p:cNvPr>
          <p:cNvSpPr txBox="1"/>
          <p:nvPr/>
        </p:nvSpPr>
        <p:spPr>
          <a:xfrm>
            <a:off x="239349" y="1328969"/>
            <a:ext cx="15633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dirty="0">
                <a:solidFill>
                  <a:schemeClr val="accent1"/>
                </a:solidFill>
              </a:rPr>
              <a:t>JSON</a:t>
            </a:r>
          </a:p>
          <a:p>
            <a:pPr marL="0" indent="0" algn="ctr">
              <a:buNone/>
            </a:pPr>
            <a:r>
              <a:rPr lang="de-DE" sz="1400" dirty="0">
                <a:solidFill>
                  <a:schemeClr val="accent1"/>
                </a:solidFill>
              </a:rPr>
              <a:t>{x:102,y:206..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D51A63E-AA3D-B55C-8541-2BC4E5C06356}"/>
              </a:ext>
            </a:extLst>
          </p:cNvPr>
          <p:cNvSpPr txBox="1"/>
          <p:nvPr/>
        </p:nvSpPr>
        <p:spPr>
          <a:xfrm>
            <a:off x="5231904" y="5355865"/>
            <a:ext cx="2448272" cy="132800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x:102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y:206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  direction:1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dirty="0"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D6C07E7-8E97-FD4F-AFC6-C832C96D8DAF}"/>
              </a:ext>
            </a:extLst>
          </p:cNvPr>
          <p:cNvSpPr txBox="1"/>
          <p:nvPr/>
        </p:nvSpPr>
        <p:spPr>
          <a:xfrm>
            <a:off x="3677122" y="1916832"/>
            <a:ext cx="6120680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b="0" dirty="0">
                <a:solidFill>
                  <a:schemeClr val="bg1">
                    <a:lumMod val="50000"/>
                  </a:schemeClr>
                </a:solidFill>
                <a:effectLst/>
                <a:latin typeface="Consolas" panose="020B0609020204030204" pitchFamily="49" charset="0"/>
              </a:rPr>
              <a:t>http://localhost:8080/getCoords?x=101y=205&amp;direction=1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A067694-ED9C-4965-29BD-4A0AE9A6DA5D}"/>
              </a:ext>
            </a:extLst>
          </p:cNvPr>
          <p:cNvSpPr txBox="1"/>
          <p:nvPr/>
        </p:nvSpPr>
        <p:spPr>
          <a:xfrm rot="16200000">
            <a:off x="4223794" y="5631932"/>
            <a:ext cx="166956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JSON-Strin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FFF8D43-D4FA-C078-C37B-46C8BE448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9485" y="5362830"/>
            <a:ext cx="2181225" cy="123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04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heme/theme1.xml><?xml version="1.0" encoding="utf-8"?>
<a:theme xmlns:a="http://schemas.openxmlformats.org/drawingml/2006/main" name="© Versicherungskammer">
  <a:themeElements>
    <a:clrScheme name="Versicherungskammer_V01">
      <a:dk1>
        <a:srgbClr val="000000"/>
      </a:dk1>
      <a:lt1>
        <a:srgbClr val="FFFFFF"/>
      </a:lt1>
      <a:dk2>
        <a:srgbClr val="0F8DBB"/>
      </a:dk2>
      <a:lt2>
        <a:srgbClr val="DEEAF8"/>
      </a:lt2>
      <a:accent1>
        <a:srgbClr val="B47D00"/>
      </a:accent1>
      <a:accent2>
        <a:srgbClr val="024589"/>
      </a:accent2>
      <a:accent3>
        <a:srgbClr val="397A94"/>
      </a:accent3>
      <a:accent4>
        <a:srgbClr val="82A698"/>
      </a:accent4>
      <a:accent5>
        <a:srgbClr val="9C9552"/>
      </a:accent5>
      <a:accent6>
        <a:srgbClr val="B2AD86"/>
      </a:accent6>
      <a:hlink>
        <a:srgbClr val="024589"/>
      </a:hlink>
      <a:folHlink>
        <a:srgbClr val="024589"/>
      </a:folHlink>
    </a:clrScheme>
    <a:fontScheme name="Ubuntu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/>
  <a:custClrLst>
    <a:custClr name="Ocker">
      <a:srgbClr val="B47D00"/>
    </a:custClr>
    <a:custClr name="Königsblau">
      <a:srgbClr val="024589"/>
    </a:custClr>
    <a:custClr name="Hellblau">
      <a:srgbClr val="DEEAF8"/>
    </a:custClr>
    <a:custClr name="Himmelblau">
      <a:srgbClr val="0F8DBB"/>
    </a:custClr>
    <a:custClr name="Waldgrün">
      <a:srgbClr val="14885E"/>
    </a:custClr>
    <a:custClr name="Eisblau">
      <a:srgbClr val="8DB9BE"/>
    </a:custClr>
    <a:custClr name="Pflaume">
      <a:srgbClr val="861773"/>
    </a:custClr>
    <a:custClr>
      <a:srgbClr val="FFFFFF"/>
    </a:custClr>
    <a:custClr>
      <a:srgbClr val="FFFFFF"/>
    </a:custClr>
    <a:custClr>
      <a:srgbClr val="FFFFFF"/>
    </a:custClr>
    <a:custClr name="Ocker 40%">
      <a:srgbClr val="E5CD9D"/>
    </a:custClr>
    <a:custClr>
      <a:srgbClr val="FFFFFF"/>
    </a:custClr>
    <a:custClr name="Hellblau 80%">
      <a:srgbClr val="E5EEFA"/>
    </a:custClr>
    <a:custClr name="Himmelblau 40%">
      <a:srgbClr val="9FD1E4"/>
    </a:custClr>
    <a:custClr name="Waldgrün 40%">
      <a:srgbClr val="A1CFBF"/>
    </a:custClr>
    <a:custClr name="Eisblau 40%">
      <a:srgbClr val="D1E3E5"/>
    </a:custClr>
    <a:custClr name="Pflaume 40%">
      <a:srgbClr val="CEA2C7"/>
    </a:custClr>
    <a:custClr>
      <a:srgbClr val="FFFFFF"/>
    </a:custClr>
    <a:custClr>
      <a:srgbClr val="FFFFFF"/>
    </a:custClr>
    <a:custClr>
      <a:srgbClr val="FFFFFF"/>
    </a:custClr>
    <a:custClr name="Ocker 20%">
      <a:srgbClr val="F2E6CE"/>
    </a:custClr>
    <a:custClr>
      <a:srgbClr val="FFFFFF"/>
    </a:custClr>
    <a:custClr name="Hellblau 60%">
      <a:srgbClr val="ECF2FB"/>
    </a:custClr>
    <a:custClr name="Himmelblau 20%">
      <a:srgbClr val="CFE8F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PK-Rot">
      <a:srgbClr val="FF0000"/>
    </a:custClr>
    <a:custClr>
      <a:srgbClr val="FFFFFF"/>
    </a:custClr>
    <a:custClr>
      <a:srgbClr val="FFFFFF"/>
    </a:custClr>
    <a:custClr name="Türkis">
      <a:srgbClr val="397A94"/>
    </a:custClr>
    <a:custClr name="Eukalyptus">
      <a:srgbClr val="82A698"/>
    </a:custClr>
    <a:custClr name="Rinde">
      <a:srgbClr val="9C9552"/>
    </a:custClr>
    <a:custClr name="Sand">
      <a:srgbClr val="B2AD86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T_Versicherungskammer_komplett_20210328" id="{8604E34F-AA58-4155-B17A-53257EF931DE}" vid="{0E1411C6-D8E5-4286-8C11-DEBEB6D24F50}"/>
    </a:ext>
  </a:extLst>
</a:theme>
</file>

<file path=ppt/theme/theme2.xml><?xml version="1.0" encoding="utf-8"?>
<a:theme xmlns:a="http://schemas.openxmlformats.org/drawingml/2006/main" name="7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3.xml><?xml version="1.0" encoding="utf-8"?>
<a:theme xmlns:a="http://schemas.openxmlformats.org/drawingml/2006/main" name="6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4.xml><?xml version="1.0" encoding="utf-8"?>
<a:theme xmlns:a="http://schemas.openxmlformats.org/drawingml/2006/main" name="4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5.xml><?xml version="1.0" encoding="utf-8"?>
<a:theme xmlns:a="http://schemas.openxmlformats.org/drawingml/2006/main" name="5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trag_16_9_lang_Konzern_Versicherungskammer</Template>
  <TotalTime>0</TotalTime>
  <Words>1131</Words>
  <Application>Microsoft Office PowerPoint</Application>
  <PresentationFormat>Breitbild</PresentationFormat>
  <Paragraphs>202</Paragraphs>
  <Slides>13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5" baseType="lpstr">
      <vt:lpstr>Arial</vt:lpstr>
      <vt:lpstr>Calibri</vt:lpstr>
      <vt:lpstr>Consolas</vt:lpstr>
      <vt:lpstr>Symbol</vt:lpstr>
      <vt:lpstr>Ubuntu</vt:lpstr>
      <vt:lpstr>Wingdings</vt:lpstr>
      <vt:lpstr>© Versicherungskammer</vt:lpstr>
      <vt:lpstr>7_Konzern_Versicherungskammer_4:3</vt:lpstr>
      <vt:lpstr>6_Konzern_Versicherungskammer_4:3</vt:lpstr>
      <vt:lpstr>4_Konzern_Versicherungskammer_4:3</vt:lpstr>
      <vt:lpstr>5_Konzern_Versicherungskammer_4:3</vt:lpstr>
      <vt:lpstr>think-cell Folie</vt:lpstr>
      <vt:lpstr>REST</vt:lpstr>
      <vt:lpstr>Sie rufen www.vkb.de auf … was passiert?</vt:lpstr>
      <vt:lpstr>Ein Aufruf ein Weg …? Wie kommen die Daten ans Ziel?</vt:lpstr>
      <vt:lpstr>Normaler Ablauf einer Anfrage im Web</vt:lpstr>
      <vt:lpstr>Vereinfachter Ablauf einer Anfrage im Web</vt:lpstr>
      <vt:lpstr>Der Ablauf – Aufruf im Frontend</vt:lpstr>
      <vt:lpstr>Der Ablauf – Backend</vt:lpstr>
      <vt:lpstr>Der Ablauf – das Backend macht und tut</vt:lpstr>
      <vt:lpstr>Der Ablauf – Backend gibt zurück …</vt:lpstr>
      <vt:lpstr>Der Ablauf – Aufruf im Frontend</vt:lpstr>
      <vt:lpstr>Der Ablauf – Aufruf im Frontend</vt:lpstr>
      <vt:lpstr>Der Ablauf – Aufruf im Frontend</vt:lpstr>
      <vt:lpstr>Der Ablauf – Aufruf im Frontend</vt:lpstr>
    </vt:vector>
  </TitlesOfParts>
  <Company>VK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der Präsentation maximal 3zeilig</dc:title>
  <dc:creator>Roland Steckermaier</dc:creator>
  <cp:lastModifiedBy>Mike Talbot</cp:lastModifiedBy>
  <cp:revision>321</cp:revision>
  <dcterms:created xsi:type="dcterms:W3CDTF">2021-03-30T12:24:06Z</dcterms:created>
  <dcterms:modified xsi:type="dcterms:W3CDTF">2024-04-15T08:39:32Z</dcterms:modified>
</cp:coreProperties>
</file>